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handoutMasterIdLst>
    <p:handoutMasterId r:id="rId16"/>
  </p:handoutMasterIdLst>
  <p:sldIdLst>
    <p:sldId id="2147140450" r:id="rId5"/>
    <p:sldId id="2147140446" r:id="rId6"/>
    <p:sldId id="2147140445" r:id="rId7"/>
    <p:sldId id="2147140448" r:id="rId8"/>
    <p:sldId id="2147140451" r:id="rId9"/>
    <p:sldId id="2147140452" r:id="rId10"/>
    <p:sldId id="2147140453" r:id="rId11"/>
    <p:sldId id="2147140454" r:id="rId12"/>
    <p:sldId id="2147140456" r:id="rId13"/>
    <p:sldId id="309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95BA906-B677-4ED9-B365-ED690E2CB720}">
          <p14:sldIdLst>
            <p14:sldId id="2147140450"/>
            <p14:sldId id="2147140446"/>
            <p14:sldId id="2147140445"/>
            <p14:sldId id="2147140448"/>
            <p14:sldId id="2147140451"/>
            <p14:sldId id="2147140452"/>
            <p14:sldId id="2147140453"/>
            <p14:sldId id="2147140454"/>
            <p14:sldId id="2147140456"/>
            <p14:sldId id="309"/>
          </p14:sldIdLst>
        </p14:section>
      </p14:sectionLst>
    </p:ex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2212BB9-A5CF-D335-3301-776C81AF3ABE}" name="Lachlan Vass" initials="LV" userId="S::lachlan.vass@e61.in::3865f71c-c396-40c5-8390-2fc8d944de27" providerId="AD"/>
  <p188:author id="{34CD6AE3-4402-C73C-3D6D-D595530990B9}" name="Jack Buckley" initials="JB" userId="S::jack.buckley@e61.in::28ddcf48-0b29-47ef-8181-0ce27c074e2e" providerId="AD"/>
  <p188:author id="{71CA22F3-774C-2056-8AF6-7BA1CB40250A}" name="Sinn, Joshua" initials="SJ" userId="S::joshua.sinn@accenture.com::611c4376-2cbd-4772-b570-fe288a3c2a7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1B2D"/>
    <a:srgbClr val="33A7AB"/>
    <a:srgbClr val="004F54"/>
    <a:srgbClr val="2061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3CABF8-DF65-412F-A148-1057C8995332}" v="188" dt="2024-01-31T04:02:10.98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9906" autoAdjust="0"/>
  </p:normalViewPr>
  <p:slideViewPr>
    <p:cSldViewPr snapToGrid="0">
      <p:cViewPr>
        <p:scale>
          <a:sx n="44" d="100"/>
          <a:sy n="44" d="100"/>
        </p:scale>
        <p:origin x="-108" y="-3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k Garvin" userId="7d53f32c-f093-4e10-bba7-f989ea1fbf1d" providerId="ADAL" clId="{FD3CABF8-DF65-412F-A148-1057C8995332}"/>
    <pc:docChg chg="undo redo custSel addSld delSld modSld sldOrd modSection">
      <pc:chgData name="Nick Garvin" userId="7d53f32c-f093-4e10-bba7-f989ea1fbf1d" providerId="ADAL" clId="{FD3CABF8-DF65-412F-A148-1057C8995332}" dt="2024-01-31T04:14:11.015" v="9483" actId="1036"/>
      <pc:docMkLst>
        <pc:docMk/>
      </pc:docMkLst>
      <pc:sldChg chg="del">
        <pc:chgData name="Nick Garvin" userId="7d53f32c-f093-4e10-bba7-f989ea1fbf1d" providerId="ADAL" clId="{FD3CABF8-DF65-412F-A148-1057C8995332}" dt="2024-01-30T22:20:01.317" v="6376" actId="47"/>
        <pc:sldMkLst>
          <pc:docMk/>
          <pc:sldMk cId="3018288789" sldId="286"/>
        </pc:sldMkLst>
      </pc:sldChg>
      <pc:sldChg chg="delSp mod">
        <pc:chgData name="Nick Garvin" userId="7d53f32c-f093-4e10-bba7-f989ea1fbf1d" providerId="ADAL" clId="{FD3CABF8-DF65-412F-A148-1057C8995332}" dt="2024-01-31T04:10:06.716" v="9472" actId="478"/>
        <pc:sldMkLst>
          <pc:docMk/>
          <pc:sldMk cId="1537371934" sldId="309"/>
        </pc:sldMkLst>
        <pc:spChg chg="del">
          <ac:chgData name="Nick Garvin" userId="7d53f32c-f093-4e10-bba7-f989ea1fbf1d" providerId="ADAL" clId="{FD3CABF8-DF65-412F-A148-1057C8995332}" dt="2024-01-31T04:10:06.716" v="9472" actId="478"/>
          <ac:spMkLst>
            <pc:docMk/>
            <pc:sldMk cId="1537371934" sldId="309"/>
            <ac:spMk id="7" creationId="{36DFE691-484D-0A62-B4FF-81300FDD9C7F}"/>
          </ac:spMkLst>
        </pc:spChg>
        <pc:spChg chg="del">
          <ac:chgData name="Nick Garvin" userId="7d53f32c-f093-4e10-bba7-f989ea1fbf1d" providerId="ADAL" clId="{FD3CABF8-DF65-412F-A148-1057C8995332}" dt="2024-01-31T04:10:04.684" v="9471" actId="478"/>
          <ac:spMkLst>
            <pc:docMk/>
            <pc:sldMk cId="1537371934" sldId="309"/>
            <ac:spMk id="8" creationId="{8BAD583D-414C-8D2B-DA03-8F81A23522E2}"/>
          </ac:spMkLst>
        </pc:spChg>
        <pc:spChg chg="del">
          <ac:chgData name="Nick Garvin" userId="7d53f32c-f093-4e10-bba7-f989ea1fbf1d" providerId="ADAL" clId="{FD3CABF8-DF65-412F-A148-1057C8995332}" dt="2024-01-31T04:10:04.684" v="9471" actId="478"/>
          <ac:spMkLst>
            <pc:docMk/>
            <pc:sldMk cId="1537371934" sldId="309"/>
            <ac:spMk id="9" creationId="{C7F4955A-2927-2A7F-F09E-0AAD319A92DD}"/>
          </ac:spMkLst>
        </pc:spChg>
        <pc:spChg chg="del">
          <ac:chgData name="Nick Garvin" userId="7d53f32c-f093-4e10-bba7-f989ea1fbf1d" providerId="ADAL" clId="{FD3CABF8-DF65-412F-A148-1057C8995332}" dt="2024-01-31T04:10:04.684" v="9471" actId="478"/>
          <ac:spMkLst>
            <pc:docMk/>
            <pc:sldMk cId="1537371934" sldId="309"/>
            <ac:spMk id="10" creationId="{FA8EA512-8EB5-AB46-84BC-685DB8D2434F}"/>
          </ac:spMkLst>
        </pc:spChg>
      </pc:sldChg>
      <pc:sldChg chg="del">
        <pc:chgData name="Nick Garvin" userId="7d53f32c-f093-4e10-bba7-f989ea1fbf1d" providerId="ADAL" clId="{FD3CABF8-DF65-412F-A148-1057C8995332}" dt="2024-01-30T22:18:55.182" v="6358" actId="47"/>
        <pc:sldMkLst>
          <pc:docMk/>
          <pc:sldMk cId="987852731" sldId="2147140393"/>
        </pc:sldMkLst>
      </pc:sldChg>
      <pc:sldChg chg="del">
        <pc:chgData name="Nick Garvin" userId="7d53f32c-f093-4e10-bba7-f989ea1fbf1d" providerId="ADAL" clId="{FD3CABF8-DF65-412F-A148-1057C8995332}" dt="2024-01-31T00:54:20.526" v="7612" actId="47"/>
        <pc:sldMkLst>
          <pc:docMk/>
          <pc:sldMk cId="171373536" sldId="2147140394"/>
        </pc:sldMkLst>
      </pc:sldChg>
      <pc:sldChg chg="modSp del">
        <pc:chgData name="Nick Garvin" userId="7d53f32c-f093-4e10-bba7-f989ea1fbf1d" providerId="ADAL" clId="{FD3CABF8-DF65-412F-A148-1057C8995332}" dt="2024-01-31T00:54:21.471" v="7614" actId="47"/>
        <pc:sldMkLst>
          <pc:docMk/>
          <pc:sldMk cId="1094396079" sldId="2147140395"/>
        </pc:sldMkLst>
        <pc:picChg chg="mod">
          <ac:chgData name="Nick Garvin" userId="7d53f32c-f093-4e10-bba7-f989ea1fbf1d" providerId="ADAL" clId="{FD3CABF8-DF65-412F-A148-1057C8995332}" dt="2024-01-30T22:20:54.095" v="6377" actId="14826"/>
          <ac:picMkLst>
            <pc:docMk/>
            <pc:sldMk cId="1094396079" sldId="2147140395"/>
            <ac:picMk id="12" creationId="{A3EA4B3E-5ABC-9D29-9E9F-284441F7B59B}"/>
          </ac:picMkLst>
        </pc:picChg>
      </pc:sldChg>
      <pc:sldChg chg="del">
        <pc:chgData name="Nick Garvin" userId="7d53f32c-f093-4e10-bba7-f989ea1fbf1d" providerId="ADAL" clId="{FD3CABF8-DF65-412F-A148-1057C8995332}" dt="2024-01-31T00:54:22.727" v="7616" actId="47"/>
        <pc:sldMkLst>
          <pc:docMk/>
          <pc:sldMk cId="1771707171" sldId="2147140396"/>
        </pc:sldMkLst>
      </pc:sldChg>
      <pc:sldChg chg="del">
        <pc:chgData name="Nick Garvin" userId="7d53f32c-f093-4e10-bba7-f989ea1fbf1d" providerId="ADAL" clId="{FD3CABF8-DF65-412F-A148-1057C8995332}" dt="2024-01-31T00:54:21.019" v="7613" actId="47"/>
        <pc:sldMkLst>
          <pc:docMk/>
          <pc:sldMk cId="1033085095" sldId="2147140397"/>
        </pc:sldMkLst>
      </pc:sldChg>
      <pc:sldChg chg="del">
        <pc:chgData name="Nick Garvin" userId="7d53f32c-f093-4e10-bba7-f989ea1fbf1d" providerId="ADAL" clId="{FD3CABF8-DF65-412F-A148-1057C8995332}" dt="2024-01-31T00:54:23.322" v="7617" actId="47"/>
        <pc:sldMkLst>
          <pc:docMk/>
          <pc:sldMk cId="541082663" sldId="2147140398"/>
        </pc:sldMkLst>
      </pc:sldChg>
      <pc:sldChg chg="del">
        <pc:chgData name="Nick Garvin" userId="7d53f32c-f093-4e10-bba7-f989ea1fbf1d" providerId="ADAL" clId="{FD3CABF8-DF65-412F-A148-1057C8995332}" dt="2024-01-31T00:54:23.803" v="7618" actId="47"/>
        <pc:sldMkLst>
          <pc:docMk/>
          <pc:sldMk cId="3222821359" sldId="2147140399"/>
        </pc:sldMkLst>
      </pc:sldChg>
      <pc:sldChg chg="del">
        <pc:chgData name="Nick Garvin" userId="7d53f32c-f093-4e10-bba7-f989ea1fbf1d" providerId="ADAL" clId="{FD3CABF8-DF65-412F-A148-1057C8995332}" dt="2024-01-31T00:54:24.507" v="7619" actId="47"/>
        <pc:sldMkLst>
          <pc:docMk/>
          <pc:sldMk cId="122898059" sldId="2147140400"/>
        </pc:sldMkLst>
      </pc:sldChg>
      <pc:sldChg chg="del">
        <pc:chgData name="Nick Garvin" userId="7d53f32c-f093-4e10-bba7-f989ea1fbf1d" providerId="ADAL" clId="{FD3CABF8-DF65-412F-A148-1057C8995332}" dt="2024-01-31T00:54:24.951" v="7620" actId="47"/>
        <pc:sldMkLst>
          <pc:docMk/>
          <pc:sldMk cId="3610109093" sldId="2147140401"/>
        </pc:sldMkLst>
      </pc:sldChg>
      <pc:sldChg chg="del">
        <pc:chgData name="Nick Garvin" userId="7d53f32c-f093-4e10-bba7-f989ea1fbf1d" providerId="ADAL" clId="{FD3CABF8-DF65-412F-A148-1057C8995332}" dt="2024-01-31T00:54:25.648" v="7621" actId="47"/>
        <pc:sldMkLst>
          <pc:docMk/>
          <pc:sldMk cId="2400169846" sldId="2147140402"/>
        </pc:sldMkLst>
      </pc:sldChg>
      <pc:sldChg chg="del">
        <pc:chgData name="Nick Garvin" userId="7d53f32c-f093-4e10-bba7-f989ea1fbf1d" providerId="ADAL" clId="{FD3CABF8-DF65-412F-A148-1057C8995332}" dt="2024-01-30T22:19:25.891" v="6375" actId="47"/>
        <pc:sldMkLst>
          <pc:docMk/>
          <pc:sldMk cId="3812058060" sldId="2147140403"/>
        </pc:sldMkLst>
      </pc:sldChg>
      <pc:sldChg chg="addSp modSp del mod delCm">
        <pc:chgData name="Nick Garvin" userId="7d53f32c-f093-4e10-bba7-f989ea1fbf1d" providerId="ADAL" clId="{FD3CABF8-DF65-412F-A148-1057C8995332}" dt="2024-01-30T20:15:40.528" v="3039" actId="47"/>
        <pc:sldMkLst>
          <pc:docMk/>
          <pc:sldMk cId="3782843331" sldId="2147140411"/>
        </pc:sldMkLst>
        <pc:spChg chg="mod">
          <ac:chgData name="Nick Garvin" userId="7d53f32c-f093-4e10-bba7-f989ea1fbf1d" providerId="ADAL" clId="{FD3CABF8-DF65-412F-A148-1057C8995332}" dt="2024-01-30T05:24:18.712" v="1311" actId="1076"/>
          <ac:spMkLst>
            <pc:docMk/>
            <pc:sldMk cId="3782843331" sldId="2147140411"/>
            <ac:spMk id="2" creationId="{3D4F42D9-7ACE-EF54-8740-DF8227CBF8F9}"/>
          </ac:spMkLst>
        </pc:spChg>
        <pc:spChg chg="mod">
          <ac:chgData name="Nick Garvin" userId="7d53f32c-f093-4e10-bba7-f989ea1fbf1d" providerId="ADAL" clId="{FD3CABF8-DF65-412F-A148-1057C8995332}" dt="2024-01-30T05:24:28.334" v="1314" actId="1076"/>
          <ac:spMkLst>
            <pc:docMk/>
            <pc:sldMk cId="3782843331" sldId="2147140411"/>
            <ac:spMk id="3" creationId="{881DA241-86F8-9BA0-6847-FAF7BA0BC7C2}"/>
          </ac:spMkLst>
        </pc:spChg>
        <pc:spChg chg="add mod">
          <ac:chgData name="Nick Garvin" userId="7d53f32c-f093-4e10-bba7-f989ea1fbf1d" providerId="ADAL" clId="{FD3CABF8-DF65-412F-A148-1057C8995332}" dt="2024-01-30T05:25:16.292" v="1392" actId="1076"/>
          <ac:spMkLst>
            <pc:docMk/>
            <pc:sldMk cId="3782843331" sldId="2147140411"/>
            <ac:spMk id="7" creationId="{D9084A46-5B11-88B5-C096-D2752785191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ick Garvin" userId="7d53f32c-f093-4e10-bba7-f989ea1fbf1d" providerId="ADAL" clId="{FD3CABF8-DF65-412F-A148-1057C8995332}" dt="2024-01-29T22:36:44.575" v="0"/>
              <pc2:cmMkLst xmlns:pc2="http://schemas.microsoft.com/office/powerpoint/2019/9/main/command">
                <pc:docMk/>
                <pc:sldMk cId="3782843331" sldId="2147140411"/>
                <pc2:cmMk id="{17FB755E-BB5E-46B7-8E11-20AC562C9DE9}"/>
              </pc2:cmMkLst>
            </pc226:cmChg>
          </p:ext>
        </pc:extLst>
      </pc:sldChg>
      <pc:sldChg chg="del">
        <pc:chgData name="Nick Garvin" userId="7d53f32c-f093-4e10-bba7-f989ea1fbf1d" providerId="ADAL" clId="{FD3CABF8-DF65-412F-A148-1057C8995332}" dt="2024-01-31T00:54:17.076" v="7607" actId="47"/>
        <pc:sldMkLst>
          <pc:docMk/>
          <pc:sldMk cId="1062047991" sldId="2147140414"/>
        </pc:sldMkLst>
      </pc:sldChg>
      <pc:sldChg chg="del">
        <pc:chgData name="Nick Garvin" userId="7d53f32c-f093-4e10-bba7-f989ea1fbf1d" providerId="ADAL" clId="{FD3CABF8-DF65-412F-A148-1057C8995332}" dt="2024-01-30T22:19:22.544" v="6374" actId="47"/>
        <pc:sldMkLst>
          <pc:docMk/>
          <pc:sldMk cId="2868943613" sldId="2147140415"/>
        </pc:sldMkLst>
      </pc:sldChg>
      <pc:sldChg chg="del">
        <pc:chgData name="Nick Garvin" userId="7d53f32c-f093-4e10-bba7-f989ea1fbf1d" providerId="ADAL" clId="{FD3CABF8-DF65-412F-A148-1057C8995332}" dt="2024-01-30T22:19:19.538" v="6373" actId="47"/>
        <pc:sldMkLst>
          <pc:docMk/>
          <pc:sldMk cId="755367287" sldId="2147140416"/>
        </pc:sldMkLst>
      </pc:sldChg>
      <pc:sldChg chg="del">
        <pc:chgData name="Nick Garvin" userId="7d53f32c-f093-4e10-bba7-f989ea1fbf1d" providerId="ADAL" clId="{FD3CABF8-DF65-412F-A148-1057C8995332}" dt="2024-01-30T22:19:18.245" v="6371" actId="47"/>
        <pc:sldMkLst>
          <pc:docMk/>
          <pc:sldMk cId="1862914899" sldId="2147140417"/>
        </pc:sldMkLst>
      </pc:sldChg>
      <pc:sldChg chg="del">
        <pc:chgData name="Nick Garvin" userId="7d53f32c-f093-4e10-bba7-f989ea1fbf1d" providerId="ADAL" clId="{FD3CABF8-DF65-412F-A148-1057C8995332}" dt="2024-01-30T22:19:18.906" v="6372" actId="47"/>
        <pc:sldMkLst>
          <pc:docMk/>
          <pc:sldMk cId="2915153111" sldId="2147140418"/>
        </pc:sldMkLst>
      </pc:sldChg>
      <pc:sldChg chg="modSp del mod">
        <pc:chgData name="Nick Garvin" userId="7d53f32c-f093-4e10-bba7-f989ea1fbf1d" providerId="ADAL" clId="{FD3CABF8-DF65-412F-A148-1057C8995332}" dt="2024-01-31T00:54:19.020" v="7609" actId="47"/>
        <pc:sldMkLst>
          <pc:docMk/>
          <pc:sldMk cId="3083668573" sldId="2147140421"/>
        </pc:sldMkLst>
        <pc:spChg chg="mod">
          <ac:chgData name="Nick Garvin" userId="7d53f32c-f093-4e10-bba7-f989ea1fbf1d" providerId="ADAL" clId="{FD3CABF8-DF65-412F-A148-1057C8995332}" dt="2024-01-29T22:36:55.770" v="6" actId="20577"/>
          <ac:spMkLst>
            <pc:docMk/>
            <pc:sldMk cId="3083668573" sldId="2147140421"/>
            <ac:spMk id="3" creationId="{A8FFD6A1-EAD7-C114-E9E3-B93FE9386C82}"/>
          </ac:spMkLst>
        </pc:spChg>
      </pc:sldChg>
      <pc:sldChg chg="del">
        <pc:chgData name="Nick Garvin" userId="7d53f32c-f093-4e10-bba7-f989ea1fbf1d" providerId="ADAL" clId="{FD3CABF8-DF65-412F-A148-1057C8995332}" dt="2024-01-30T22:18:47.451" v="6352" actId="47"/>
        <pc:sldMkLst>
          <pc:docMk/>
          <pc:sldMk cId="922039313" sldId="2147140422"/>
        </pc:sldMkLst>
      </pc:sldChg>
      <pc:sldChg chg="del">
        <pc:chgData name="Nick Garvin" userId="7d53f32c-f093-4e10-bba7-f989ea1fbf1d" providerId="ADAL" clId="{FD3CABF8-DF65-412F-A148-1057C8995332}" dt="2024-01-30T22:18:51.079" v="6353" actId="47"/>
        <pc:sldMkLst>
          <pc:docMk/>
          <pc:sldMk cId="708954318" sldId="2147140423"/>
        </pc:sldMkLst>
      </pc:sldChg>
      <pc:sldChg chg="del">
        <pc:chgData name="Nick Garvin" userId="7d53f32c-f093-4e10-bba7-f989ea1fbf1d" providerId="ADAL" clId="{FD3CABF8-DF65-412F-A148-1057C8995332}" dt="2024-01-30T22:18:52.132" v="6354" actId="47"/>
        <pc:sldMkLst>
          <pc:docMk/>
          <pc:sldMk cId="3034701265" sldId="2147140424"/>
        </pc:sldMkLst>
      </pc:sldChg>
      <pc:sldChg chg="del">
        <pc:chgData name="Nick Garvin" userId="7d53f32c-f093-4e10-bba7-f989ea1fbf1d" providerId="ADAL" clId="{FD3CABF8-DF65-412F-A148-1057C8995332}" dt="2024-01-30T22:18:52.548" v="6355" actId="47"/>
        <pc:sldMkLst>
          <pc:docMk/>
          <pc:sldMk cId="4012965785" sldId="2147140425"/>
        </pc:sldMkLst>
      </pc:sldChg>
      <pc:sldChg chg="del">
        <pc:chgData name="Nick Garvin" userId="7d53f32c-f093-4e10-bba7-f989ea1fbf1d" providerId="ADAL" clId="{FD3CABF8-DF65-412F-A148-1057C8995332}" dt="2024-01-30T22:18:53.682" v="6356" actId="47"/>
        <pc:sldMkLst>
          <pc:docMk/>
          <pc:sldMk cId="1961829459" sldId="2147140426"/>
        </pc:sldMkLst>
      </pc:sldChg>
      <pc:sldChg chg="del">
        <pc:chgData name="Nick Garvin" userId="7d53f32c-f093-4e10-bba7-f989ea1fbf1d" providerId="ADAL" clId="{FD3CABF8-DF65-412F-A148-1057C8995332}" dt="2024-01-31T00:54:20.074" v="7611" actId="47"/>
        <pc:sldMkLst>
          <pc:docMk/>
          <pc:sldMk cId="3054324366" sldId="2147140427"/>
        </pc:sldMkLst>
      </pc:sldChg>
      <pc:sldChg chg="del">
        <pc:chgData name="Nick Garvin" userId="7d53f32c-f093-4e10-bba7-f989ea1fbf1d" providerId="ADAL" clId="{FD3CABF8-DF65-412F-A148-1057C8995332}" dt="2024-01-31T00:54:19.429" v="7610" actId="47"/>
        <pc:sldMkLst>
          <pc:docMk/>
          <pc:sldMk cId="93495406" sldId="2147140428"/>
        </pc:sldMkLst>
      </pc:sldChg>
      <pc:sldChg chg="del">
        <pc:chgData name="Nick Garvin" userId="7d53f32c-f093-4e10-bba7-f989ea1fbf1d" providerId="ADAL" clId="{FD3CABF8-DF65-412F-A148-1057C8995332}" dt="2024-01-30T22:18:55.671" v="6359" actId="47"/>
        <pc:sldMkLst>
          <pc:docMk/>
          <pc:sldMk cId="4125637597" sldId="2147140429"/>
        </pc:sldMkLst>
      </pc:sldChg>
      <pc:sldChg chg="del">
        <pc:chgData name="Nick Garvin" userId="7d53f32c-f093-4e10-bba7-f989ea1fbf1d" providerId="ADAL" clId="{FD3CABF8-DF65-412F-A148-1057C8995332}" dt="2024-01-30T22:18:56.190" v="6360" actId="47"/>
        <pc:sldMkLst>
          <pc:docMk/>
          <pc:sldMk cId="3240348009" sldId="2147140430"/>
        </pc:sldMkLst>
      </pc:sldChg>
      <pc:sldChg chg="del">
        <pc:chgData name="Nick Garvin" userId="7d53f32c-f093-4e10-bba7-f989ea1fbf1d" providerId="ADAL" clId="{FD3CABF8-DF65-412F-A148-1057C8995332}" dt="2024-01-30T22:18:56.713" v="6361" actId="47"/>
        <pc:sldMkLst>
          <pc:docMk/>
          <pc:sldMk cId="2339083996" sldId="2147140431"/>
        </pc:sldMkLst>
      </pc:sldChg>
      <pc:sldChg chg="del">
        <pc:chgData name="Nick Garvin" userId="7d53f32c-f093-4e10-bba7-f989ea1fbf1d" providerId="ADAL" clId="{FD3CABF8-DF65-412F-A148-1057C8995332}" dt="2024-01-30T22:18:54.491" v="6357" actId="47"/>
        <pc:sldMkLst>
          <pc:docMk/>
          <pc:sldMk cId="1023035610" sldId="2147140432"/>
        </pc:sldMkLst>
      </pc:sldChg>
      <pc:sldChg chg="del">
        <pc:chgData name="Nick Garvin" userId="7d53f32c-f093-4e10-bba7-f989ea1fbf1d" providerId="ADAL" clId="{FD3CABF8-DF65-412F-A148-1057C8995332}" dt="2024-01-30T22:18:59.550" v="6362" actId="47"/>
        <pc:sldMkLst>
          <pc:docMk/>
          <pc:sldMk cId="1853093317" sldId="2147140433"/>
        </pc:sldMkLst>
      </pc:sldChg>
      <pc:sldChg chg="del">
        <pc:chgData name="Nick Garvin" userId="7d53f32c-f093-4e10-bba7-f989ea1fbf1d" providerId="ADAL" clId="{FD3CABF8-DF65-412F-A148-1057C8995332}" dt="2024-01-30T22:19:00.203" v="6363" actId="47"/>
        <pc:sldMkLst>
          <pc:docMk/>
          <pc:sldMk cId="4140674546" sldId="2147140434"/>
        </pc:sldMkLst>
      </pc:sldChg>
      <pc:sldChg chg="del">
        <pc:chgData name="Nick Garvin" userId="7d53f32c-f093-4e10-bba7-f989ea1fbf1d" providerId="ADAL" clId="{FD3CABF8-DF65-412F-A148-1057C8995332}" dt="2024-01-30T22:19:00.600" v="6364" actId="47"/>
        <pc:sldMkLst>
          <pc:docMk/>
          <pc:sldMk cId="3487810850" sldId="2147140435"/>
        </pc:sldMkLst>
      </pc:sldChg>
      <pc:sldChg chg="del">
        <pc:chgData name="Nick Garvin" userId="7d53f32c-f093-4e10-bba7-f989ea1fbf1d" providerId="ADAL" clId="{FD3CABF8-DF65-412F-A148-1057C8995332}" dt="2024-01-30T22:19:01.290" v="6365" actId="47"/>
        <pc:sldMkLst>
          <pc:docMk/>
          <pc:sldMk cId="2782420852" sldId="2147140436"/>
        </pc:sldMkLst>
      </pc:sldChg>
      <pc:sldChg chg="del">
        <pc:chgData name="Nick Garvin" userId="7d53f32c-f093-4e10-bba7-f989ea1fbf1d" providerId="ADAL" clId="{FD3CABF8-DF65-412F-A148-1057C8995332}" dt="2024-01-30T22:19:01.742" v="6366" actId="47"/>
        <pc:sldMkLst>
          <pc:docMk/>
          <pc:sldMk cId="723227098" sldId="2147140437"/>
        </pc:sldMkLst>
      </pc:sldChg>
      <pc:sldChg chg="del">
        <pc:chgData name="Nick Garvin" userId="7d53f32c-f093-4e10-bba7-f989ea1fbf1d" providerId="ADAL" clId="{FD3CABF8-DF65-412F-A148-1057C8995332}" dt="2024-01-30T22:19:02.938" v="6367" actId="47"/>
        <pc:sldMkLst>
          <pc:docMk/>
          <pc:sldMk cId="986481862" sldId="2147140438"/>
        </pc:sldMkLst>
      </pc:sldChg>
      <pc:sldChg chg="del">
        <pc:chgData name="Nick Garvin" userId="7d53f32c-f093-4e10-bba7-f989ea1fbf1d" providerId="ADAL" clId="{FD3CABF8-DF65-412F-A148-1057C8995332}" dt="2024-01-30T22:19:03.318" v="6368" actId="47"/>
        <pc:sldMkLst>
          <pc:docMk/>
          <pc:sldMk cId="1389379773" sldId="2147140439"/>
        </pc:sldMkLst>
      </pc:sldChg>
      <pc:sldChg chg="del">
        <pc:chgData name="Nick Garvin" userId="7d53f32c-f093-4e10-bba7-f989ea1fbf1d" providerId="ADAL" clId="{FD3CABF8-DF65-412F-A148-1057C8995332}" dt="2024-01-30T22:19:03.794" v="6369" actId="47"/>
        <pc:sldMkLst>
          <pc:docMk/>
          <pc:sldMk cId="1194156613" sldId="2147140440"/>
        </pc:sldMkLst>
      </pc:sldChg>
      <pc:sldChg chg="del">
        <pc:chgData name="Nick Garvin" userId="7d53f32c-f093-4e10-bba7-f989ea1fbf1d" providerId="ADAL" clId="{FD3CABF8-DF65-412F-A148-1057C8995332}" dt="2024-01-30T22:19:04.364" v="6370" actId="47"/>
        <pc:sldMkLst>
          <pc:docMk/>
          <pc:sldMk cId="2959611009" sldId="2147140441"/>
        </pc:sldMkLst>
      </pc:sldChg>
      <pc:sldChg chg="del">
        <pc:chgData name="Nick Garvin" userId="7d53f32c-f093-4e10-bba7-f989ea1fbf1d" providerId="ADAL" clId="{FD3CABF8-DF65-412F-A148-1057C8995332}" dt="2024-01-31T00:54:18.166" v="7608" actId="47"/>
        <pc:sldMkLst>
          <pc:docMk/>
          <pc:sldMk cId="359155033" sldId="2147140442"/>
        </pc:sldMkLst>
      </pc:sldChg>
      <pc:sldChg chg="addSp modSp new del mod">
        <pc:chgData name="Nick Garvin" userId="7d53f32c-f093-4e10-bba7-f989ea1fbf1d" providerId="ADAL" clId="{FD3CABF8-DF65-412F-A148-1057C8995332}" dt="2024-01-30T05:20:53.926" v="1275" actId="47"/>
        <pc:sldMkLst>
          <pc:docMk/>
          <pc:sldMk cId="2464200916" sldId="2147140443"/>
        </pc:sldMkLst>
        <pc:spChg chg="add mod">
          <ac:chgData name="Nick Garvin" userId="7d53f32c-f093-4e10-bba7-f989ea1fbf1d" providerId="ADAL" clId="{FD3CABF8-DF65-412F-A148-1057C8995332}" dt="2024-01-29T22:37:30.432" v="81" actId="20577"/>
          <ac:spMkLst>
            <pc:docMk/>
            <pc:sldMk cId="2464200916" sldId="2147140443"/>
            <ac:spMk id="4" creationId="{91BFE5EE-5690-9EFC-3A26-C35CFC998840}"/>
          </ac:spMkLst>
        </pc:spChg>
      </pc:sldChg>
      <pc:sldChg chg="addSp delSp modSp new del mod ord">
        <pc:chgData name="Nick Garvin" userId="7d53f32c-f093-4e10-bba7-f989ea1fbf1d" providerId="ADAL" clId="{FD3CABF8-DF65-412F-A148-1057C8995332}" dt="2024-01-30T20:33:58.383" v="3421" actId="47"/>
        <pc:sldMkLst>
          <pc:docMk/>
          <pc:sldMk cId="450162093" sldId="2147140444"/>
        </pc:sldMkLst>
        <pc:spChg chg="del">
          <ac:chgData name="Nick Garvin" userId="7d53f32c-f093-4e10-bba7-f989ea1fbf1d" providerId="ADAL" clId="{FD3CABF8-DF65-412F-A148-1057C8995332}" dt="2024-01-30T04:38:03.435" v="665" actId="478"/>
          <ac:spMkLst>
            <pc:docMk/>
            <pc:sldMk cId="450162093" sldId="2147140444"/>
            <ac:spMk id="3" creationId="{7D3ADA19-D51D-B2A9-A149-04B2305E4B62}"/>
          </ac:spMkLst>
        </pc:spChg>
        <pc:spChg chg="mod">
          <ac:chgData name="Nick Garvin" userId="7d53f32c-f093-4e10-bba7-f989ea1fbf1d" providerId="ADAL" clId="{FD3CABF8-DF65-412F-A148-1057C8995332}" dt="2024-01-30T20:16:48.705" v="3096" actId="20577"/>
          <ac:spMkLst>
            <pc:docMk/>
            <pc:sldMk cId="450162093" sldId="2147140444"/>
            <ac:spMk id="4" creationId="{DDC81643-4A06-0FA5-4B79-9E15E6200A99}"/>
          </ac:spMkLst>
        </pc:spChg>
        <pc:spChg chg="add mod">
          <ac:chgData name="Nick Garvin" userId="7d53f32c-f093-4e10-bba7-f989ea1fbf1d" providerId="ADAL" clId="{FD3CABF8-DF65-412F-A148-1057C8995332}" dt="2024-01-30T05:16:43.151" v="1272" actId="1036"/>
          <ac:spMkLst>
            <pc:docMk/>
            <pc:sldMk cId="450162093" sldId="2147140444"/>
            <ac:spMk id="6" creationId="{19E34097-686F-60DC-2548-C324FA206309}"/>
          </ac:spMkLst>
        </pc:spChg>
        <pc:spChg chg="add mod">
          <ac:chgData name="Nick Garvin" userId="7d53f32c-f093-4e10-bba7-f989ea1fbf1d" providerId="ADAL" clId="{FD3CABF8-DF65-412F-A148-1057C8995332}" dt="2024-01-30T05:16:43.151" v="1272" actId="1036"/>
          <ac:spMkLst>
            <pc:docMk/>
            <pc:sldMk cId="450162093" sldId="2147140444"/>
            <ac:spMk id="7" creationId="{F41CCD00-4C61-1F90-A204-C8E7A6AEC9E9}"/>
          </ac:spMkLst>
        </pc:spChg>
        <pc:spChg chg="add mod">
          <ac:chgData name="Nick Garvin" userId="7d53f32c-f093-4e10-bba7-f989ea1fbf1d" providerId="ADAL" clId="{FD3CABF8-DF65-412F-A148-1057C8995332}" dt="2024-01-30T05:16:43.151" v="1272" actId="1036"/>
          <ac:spMkLst>
            <pc:docMk/>
            <pc:sldMk cId="450162093" sldId="2147140444"/>
            <ac:spMk id="8" creationId="{9B1AD20E-19E3-7012-4297-31EA02669A28}"/>
          </ac:spMkLst>
        </pc:spChg>
        <pc:spChg chg="add mod">
          <ac:chgData name="Nick Garvin" userId="7d53f32c-f093-4e10-bba7-f989ea1fbf1d" providerId="ADAL" clId="{FD3CABF8-DF65-412F-A148-1057C8995332}" dt="2024-01-30T05:16:43.151" v="1272" actId="1036"/>
          <ac:spMkLst>
            <pc:docMk/>
            <pc:sldMk cId="450162093" sldId="2147140444"/>
            <ac:spMk id="9" creationId="{77F04570-E5F7-BAEC-5DA0-53673D9BFBC4}"/>
          </ac:spMkLst>
        </pc:spChg>
        <pc:spChg chg="add mod">
          <ac:chgData name="Nick Garvin" userId="7d53f32c-f093-4e10-bba7-f989ea1fbf1d" providerId="ADAL" clId="{FD3CABF8-DF65-412F-A148-1057C8995332}" dt="2024-01-30T05:16:43.151" v="1272" actId="1036"/>
          <ac:spMkLst>
            <pc:docMk/>
            <pc:sldMk cId="450162093" sldId="2147140444"/>
            <ac:spMk id="10" creationId="{1A72DE6A-3BAD-658D-A818-4D6B0CC7AE97}"/>
          </ac:spMkLst>
        </pc:spChg>
        <pc:spChg chg="add mod">
          <ac:chgData name="Nick Garvin" userId="7d53f32c-f093-4e10-bba7-f989ea1fbf1d" providerId="ADAL" clId="{FD3CABF8-DF65-412F-A148-1057C8995332}" dt="2024-01-30T05:16:43.151" v="1272" actId="1036"/>
          <ac:spMkLst>
            <pc:docMk/>
            <pc:sldMk cId="450162093" sldId="2147140444"/>
            <ac:spMk id="15" creationId="{4AFEEF6A-238F-CAC2-D818-6493957B56B4}"/>
          </ac:spMkLst>
        </pc:spChg>
        <pc:spChg chg="add mod">
          <ac:chgData name="Nick Garvin" userId="7d53f32c-f093-4e10-bba7-f989ea1fbf1d" providerId="ADAL" clId="{FD3CABF8-DF65-412F-A148-1057C8995332}" dt="2024-01-30T05:16:43.151" v="1272" actId="1036"/>
          <ac:spMkLst>
            <pc:docMk/>
            <pc:sldMk cId="450162093" sldId="2147140444"/>
            <ac:spMk id="16" creationId="{1429E92B-935F-F35B-36D0-D6C09E5033A5}"/>
          </ac:spMkLst>
        </pc:spChg>
        <pc:spChg chg="add mod">
          <ac:chgData name="Nick Garvin" userId="7d53f32c-f093-4e10-bba7-f989ea1fbf1d" providerId="ADAL" clId="{FD3CABF8-DF65-412F-A148-1057C8995332}" dt="2024-01-30T05:23:24.008" v="1310" actId="20577"/>
          <ac:spMkLst>
            <pc:docMk/>
            <pc:sldMk cId="450162093" sldId="2147140444"/>
            <ac:spMk id="17" creationId="{6992D4D9-6418-4AB7-34C3-7B44A8BCF318}"/>
          </ac:spMkLst>
        </pc:spChg>
        <pc:spChg chg="add mod">
          <ac:chgData name="Nick Garvin" userId="7d53f32c-f093-4e10-bba7-f989ea1fbf1d" providerId="ADAL" clId="{FD3CABF8-DF65-412F-A148-1057C8995332}" dt="2024-01-30T05:16:43.151" v="1272" actId="1036"/>
          <ac:spMkLst>
            <pc:docMk/>
            <pc:sldMk cId="450162093" sldId="2147140444"/>
            <ac:spMk id="18" creationId="{C6424C89-DEE8-5A2C-B486-6F4A605B0ED9}"/>
          </ac:spMkLst>
        </pc:spChg>
        <pc:spChg chg="add del mod">
          <ac:chgData name="Nick Garvin" userId="7d53f32c-f093-4e10-bba7-f989ea1fbf1d" providerId="ADAL" clId="{FD3CABF8-DF65-412F-A148-1057C8995332}" dt="2024-01-30T04:33:48.703" v="376"/>
          <ac:spMkLst>
            <pc:docMk/>
            <pc:sldMk cId="450162093" sldId="2147140444"/>
            <ac:spMk id="23" creationId="{73F9310E-583C-1EC1-77DF-899CBF98F38C}"/>
          </ac:spMkLst>
        </pc:spChg>
        <pc:spChg chg="add mod">
          <ac:chgData name="Nick Garvin" userId="7d53f32c-f093-4e10-bba7-f989ea1fbf1d" providerId="ADAL" clId="{FD3CABF8-DF65-412F-A148-1057C8995332}" dt="2024-01-30T05:23:12.098" v="1289" actId="20577"/>
          <ac:spMkLst>
            <pc:docMk/>
            <pc:sldMk cId="450162093" sldId="2147140444"/>
            <ac:spMk id="24" creationId="{07C4A46D-493F-8A73-9D33-985C9454CDE1}"/>
          </ac:spMkLst>
        </pc:spChg>
        <pc:spChg chg="add del mod">
          <ac:chgData name="Nick Garvin" userId="7d53f32c-f093-4e10-bba7-f989ea1fbf1d" providerId="ADAL" clId="{FD3CABF8-DF65-412F-A148-1057C8995332}" dt="2024-01-30T04:48:15.568" v="951" actId="478"/>
          <ac:spMkLst>
            <pc:docMk/>
            <pc:sldMk cId="450162093" sldId="2147140444"/>
            <ac:spMk id="25" creationId="{DA5D8229-4C8B-A501-97A0-55AEE5CE554B}"/>
          </ac:spMkLst>
        </pc:spChg>
        <pc:spChg chg="add mod">
          <ac:chgData name="Nick Garvin" userId="7d53f32c-f093-4e10-bba7-f989ea1fbf1d" providerId="ADAL" clId="{FD3CABF8-DF65-412F-A148-1057C8995332}" dt="2024-01-30T20:13:31.525" v="2893" actId="20577"/>
          <ac:spMkLst>
            <pc:docMk/>
            <pc:sldMk cId="450162093" sldId="2147140444"/>
            <ac:spMk id="26" creationId="{6DE4EE0A-2724-2C42-D900-A0ADADF1E5F5}"/>
          </ac:spMkLst>
        </pc:spChg>
        <pc:spChg chg="add del mod">
          <ac:chgData name="Nick Garvin" userId="7d53f32c-f093-4e10-bba7-f989ea1fbf1d" providerId="ADAL" clId="{FD3CABF8-DF65-412F-A148-1057C8995332}" dt="2024-01-30T04:43:36.347" v="869" actId="478"/>
          <ac:spMkLst>
            <pc:docMk/>
            <pc:sldMk cId="450162093" sldId="2147140444"/>
            <ac:spMk id="27" creationId="{C0C026FD-21E1-5569-7508-77D10D6A2735}"/>
          </ac:spMkLst>
        </pc:spChg>
        <pc:spChg chg="add del mod">
          <ac:chgData name="Nick Garvin" userId="7d53f32c-f093-4e10-bba7-f989ea1fbf1d" providerId="ADAL" clId="{FD3CABF8-DF65-412F-A148-1057C8995332}" dt="2024-01-30T04:43:36.347" v="869" actId="478"/>
          <ac:spMkLst>
            <pc:docMk/>
            <pc:sldMk cId="450162093" sldId="2147140444"/>
            <ac:spMk id="30" creationId="{09E8C101-9DCB-2084-77A1-0175931D69BF}"/>
          </ac:spMkLst>
        </pc:spChg>
        <pc:spChg chg="add del mod">
          <ac:chgData name="Nick Garvin" userId="7d53f32c-f093-4e10-bba7-f989ea1fbf1d" providerId="ADAL" clId="{FD3CABF8-DF65-412F-A148-1057C8995332}" dt="2024-01-30T04:43:36.347" v="869" actId="478"/>
          <ac:spMkLst>
            <pc:docMk/>
            <pc:sldMk cId="450162093" sldId="2147140444"/>
            <ac:spMk id="31" creationId="{8EF89201-7722-1C27-A072-05EFE8B36A20}"/>
          </ac:spMkLst>
        </pc:spChg>
        <pc:spChg chg="add mod">
          <ac:chgData name="Nick Garvin" userId="7d53f32c-f093-4e10-bba7-f989ea1fbf1d" providerId="ADAL" clId="{FD3CABF8-DF65-412F-A148-1057C8995332}" dt="2024-01-30T05:16:43.151" v="1272" actId="1036"/>
          <ac:spMkLst>
            <pc:docMk/>
            <pc:sldMk cId="450162093" sldId="2147140444"/>
            <ac:spMk id="36" creationId="{D74A472D-8AD2-C6B1-BC93-A0E63D243A9A}"/>
          </ac:spMkLst>
        </pc:spChg>
        <pc:graphicFrameChg chg="add mod modGraphic">
          <ac:chgData name="Nick Garvin" userId="7d53f32c-f093-4e10-bba7-f989ea1fbf1d" providerId="ADAL" clId="{FD3CABF8-DF65-412F-A148-1057C8995332}" dt="2024-01-30T05:16:43.151" v="1272" actId="1036"/>
          <ac:graphicFrameMkLst>
            <pc:docMk/>
            <pc:sldMk cId="450162093" sldId="2147140444"/>
            <ac:graphicFrameMk id="35" creationId="{A59572EB-B024-2B60-0678-367F3A6404FB}"/>
          </ac:graphicFrameMkLst>
        </pc:graphicFrameChg>
        <pc:picChg chg="add mod">
          <ac:chgData name="Nick Garvin" userId="7d53f32c-f093-4e10-bba7-f989ea1fbf1d" providerId="ADAL" clId="{FD3CABF8-DF65-412F-A148-1057C8995332}" dt="2024-01-30T20:31:54.110" v="3399" actId="1076"/>
          <ac:picMkLst>
            <pc:docMk/>
            <pc:sldMk cId="450162093" sldId="2147140444"/>
            <ac:picMk id="5" creationId="{59663D13-37A8-5899-D0A8-4A048EBF8366}"/>
          </ac:picMkLst>
        </pc:picChg>
        <pc:picChg chg="add mod">
          <ac:chgData name="Nick Garvin" userId="7d53f32c-f093-4e10-bba7-f989ea1fbf1d" providerId="ADAL" clId="{FD3CABF8-DF65-412F-A148-1057C8995332}" dt="2024-01-30T04:26:35.950" v="85" actId="1076"/>
          <ac:picMkLst>
            <pc:docMk/>
            <pc:sldMk cId="450162093" sldId="2147140444"/>
            <ac:picMk id="5" creationId="{E775950D-FC05-2633-B849-1FF48E33D2FF}"/>
          </ac:picMkLst>
        </pc:picChg>
        <pc:picChg chg="add del mod">
          <ac:chgData name="Nick Garvin" userId="7d53f32c-f093-4e10-bba7-f989ea1fbf1d" providerId="ADAL" clId="{FD3CABF8-DF65-412F-A148-1057C8995332}" dt="2024-01-30T04:43:36.347" v="869" actId="478"/>
          <ac:picMkLst>
            <pc:docMk/>
            <pc:sldMk cId="450162093" sldId="2147140444"/>
            <ac:picMk id="28" creationId="{397FCA71-694F-4AF5-8649-035C7C842B9E}"/>
          </ac:picMkLst>
        </pc:picChg>
        <pc:picChg chg="add del mod">
          <ac:chgData name="Nick Garvin" userId="7d53f32c-f093-4e10-bba7-f989ea1fbf1d" providerId="ADAL" clId="{FD3CABF8-DF65-412F-A148-1057C8995332}" dt="2024-01-30T04:43:36.347" v="869" actId="478"/>
          <ac:picMkLst>
            <pc:docMk/>
            <pc:sldMk cId="450162093" sldId="2147140444"/>
            <ac:picMk id="29" creationId="{A73DC4A4-71BF-0469-7D9E-E1C05AD222AC}"/>
          </ac:picMkLst>
        </pc:picChg>
        <pc:picChg chg="add del mod">
          <ac:chgData name="Nick Garvin" userId="7d53f32c-f093-4e10-bba7-f989ea1fbf1d" providerId="ADAL" clId="{FD3CABF8-DF65-412F-A148-1057C8995332}" dt="2024-01-30T04:43:19.035" v="866" actId="478"/>
          <ac:picMkLst>
            <pc:docMk/>
            <pc:sldMk cId="450162093" sldId="2147140444"/>
            <ac:picMk id="32" creationId="{F29896D8-31A4-E41B-0A02-A62EAF13FEF1}"/>
          </ac:picMkLst>
        </pc:picChg>
        <pc:picChg chg="add del mod">
          <ac:chgData name="Nick Garvin" userId="7d53f32c-f093-4e10-bba7-f989ea1fbf1d" providerId="ADAL" clId="{FD3CABF8-DF65-412F-A148-1057C8995332}" dt="2024-01-30T04:43:15.956" v="865" actId="478"/>
          <ac:picMkLst>
            <pc:docMk/>
            <pc:sldMk cId="450162093" sldId="2147140444"/>
            <ac:picMk id="33" creationId="{1092A007-84E7-0704-5E53-C7FF6855E2D2}"/>
          </ac:picMkLst>
        </pc:picChg>
        <pc:picChg chg="add del mod">
          <ac:chgData name="Nick Garvin" userId="7d53f32c-f093-4e10-bba7-f989ea1fbf1d" providerId="ADAL" clId="{FD3CABF8-DF65-412F-A148-1057C8995332}" dt="2024-01-30T04:43:24.278" v="867" actId="478"/>
          <ac:picMkLst>
            <pc:docMk/>
            <pc:sldMk cId="450162093" sldId="2147140444"/>
            <ac:picMk id="34" creationId="{0733A55E-F1D1-1F0D-EE0B-291B1260DB2C}"/>
          </ac:picMkLst>
        </pc:picChg>
        <pc:cxnChg chg="add mod">
          <ac:chgData name="Nick Garvin" userId="7d53f32c-f093-4e10-bba7-f989ea1fbf1d" providerId="ADAL" clId="{FD3CABF8-DF65-412F-A148-1057C8995332}" dt="2024-01-30T05:16:43.151" v="1272" actId="1036"/>
          <ac:cxnSpMkLst>
            <pc:docMk/>
            <pc:sldMk cId="450162093" sldId="2147140444"/>
            <ac:cxnSpMk id="11" creationId="{BA39F0F6-DB84-9BFF-4954-580FB5AF92C4}"/>
          </ac:cxnSpMkLst>
        </pc:cxnChg>
        <pc:cxnChg chg="add mod">
          <ac:chgData name="Nick Garvin" userId="7d53f32c-f093-4e10-bba7-f989ea1fbf1d" providerId="ADAL" clId="{FD3CABF8-DF65-412F-A148-1057C8995332}" dt="2024-01-30T05:16:43.151" v="1272" actId="1036"/>
          <ac:cxnSpMkLst>
            <pc:docMk/>
            <pc:sldMk cId="450162093" sldId="2147140444"/>
            <ac:cxnSpMk id="12" creationId="{2A7B52A5-93BA-1D2C-FD1B-ECCF9705B3B6}"/>
          </ac:cxnSpMkLst>
        </pc:cxnChg>
        <pc:cxnChg chg="add mod">
          <ac:chgData name="Nick Garvin" userId="7d53f32c-f093-4e10-bba7-f989ea1fbf1d" providerId="ADAL" clId="{FD3CABF8-DF65-412F-A148-1057C8995332}" dt="2024-01-30T05:16:43.151" v="1272" actId="1036"/>
          <ac:cxnSpMkLst>
            <pc:docMk/>
            <pc:sldMk cId="450162093" sldId="2147140444"/>
            <ac:cxnSpMk id="13" creationId="{B059C4CA-C216-43F6-61D0-AE7AEC2584DD}"/>
          </ac:cxnSpMkLst>
        </pc:cxnChg>
        <pc:cxnChg chg="add mod">
          <ac:chgData name="Nick Garvin" userId="7d53f32c-f093-4e10-bba7-f989ea1fbf1d" providerId="ADAL" clId="{FD3CABF8-DF65-412F-A148-1057C8995332}" dt="2024-01-30T05:16:43.151" v="1272" actId="1036"/>
          <ac:cxnSpMkLst>
            <pc:docMk/>
            <pc:sldMk cId="450162093" sldId="2147140444"/>
            <ac:cxnSpMk id="14" creationId="{5F6ACE7F-3B91-9C19-9A32-CDC6B9BB313B}"/>
          </ac:cxnSpMkLst>
        </pc:cxnChg>
      </pc:sldChg>
      <pc:sldChg chg="addSp delSp modSp add del mod setBg">
        <pc:chgData name="Nick Garvin" userId="7d53f32c-f093-4e10-bba7-f989ea1fbf1d" providerId="ADAL" clId="{FD3CABF8-DF65-412F-A148-1057C8995332}" dt="2024-01-30T05:16:24.621" v="1238" actId="47"/>
        <pc:sldMkLst>
          <pc:docMk/>
          <pc:sldMk cId="1771371895" sldId="2147140445"/>
        </pc:sldMkLst>
        <pc:spChg chg="del">
          <ac:chgData name="Nick Garvin" userId="7d53f32c-f093-4e10-bba7-f989ea1fbf1d" providerId="ADAL" clId="{FD3CABF8-DF65-412F-A148-1057C8995332}" dt="2024-01-30T04:28:21.508" v="93" actId="478"/>
          <ac:spMkLst>
            <pc:docMk/>
            <pc:sldMk cId="1771371895" sldId="2147140445"/>
            <ac:spMk id="3" creationId="{25B5E69E-8922-A00E-DC54-4B0EFE05A570}"/>
          </ac:spMkLst>
        </pc:spChg>
        <pc:spChg chg="del">
          <ac:chgData name="Nick Garvin" userId="7d53f32c-f093-4e10-bba7-f989ea1fbf1d" providerId="ADAL" clId="{FD3CABF8-DF65-412F-A148-1057C8995332}" dt="2024-01-30T04:27:21.341" v="89" actId="478"/>
          <ac:spMkLst>
            <pc:docMk/>
            <pc:sldMk cId="1771371895" sldId="2147140445"/>
            <ac:spMk id="8" creationId="{C5ABCC10-4309-7A01-6B1A-0DC157159535}"/>
          </ac:spMkLst>
        </pc:spChg>
        <pc:spChg chg="add mod">
          <ac:chgData name="Nick Garvin" userId="7d53f32c-f093-4e10-bba7-f989ea1fbf1d" providerId="ADAL" clId="{FD3CABF8-DF65-412F-A148-1057C8995332}" dt="2024-01-30T05:16:17.927" v="1237" actId="478"/>
          <ac:spMkLst>
            <pc:docMk/>
            <pc:sldMk cId="1771371895" sldId="2147140445"/>
            <ac:spMk id="9" creationId="{A67700D8-CD87-EBD8-9250-1B60A1E9FDDC}"/>
          </ac:spMkLst>
        </pc:spChg>
        <pc:spChg chg="del mod">
          <ac:chgData name="Nick Garvin" userId="7d53f32c-f093-4e10-bba7-f989ea1fbf1d" providerId="ADAL" clId="{FD3CABF8-DF65-412F-A148-1057C8995332}" dt="2024-01-30T05:16:17.927" v="1237" actId="478"/>
          <ac:spMkLst>
            <pc:docMk/>
            <pc:sldMk cId="1771371895" sldId="2147140445"/>
            <ac:spMk id="15" creationId="{CCDDA5CA-BEC8-E01C-8D03-72BF0D0D3FFF}"/>
          </ac:spMkLst>
        </pc:spChg>
        <pc:grpChg chg="del">
          <ac:chgData name="Nick Garvin" userId="7d53f32c-f093-4e10-bba7-f989ea1fbf1d" providerId="ADAL" clId="{FD3CABF8-DF65-412F-A148-1057C8995332}" dt="2024-01-30T04:27:16.409" v="88" actId="478"/>
          <ac:grpSpMkLst>
            <pc:docMk/>
            <pc:sldMk cId="1771371895" sldId="2147140445"/>
            <ac:grpSpMk id="7" creationId="{44DD930D-9BB8-D76A-3D81-E31C1735EBDB}"/>
          </ac:grpSpMkLst>
        </pc:grpChg>
      </pc:sldChg>
      <pc:sldChg chg="addSp delSp modSp new mod modNotesTx">
        <pc:chgData name="Nick Garvin" userId="7d53f32c-f093-4e10-bba7-f989ea1fbf1d" providerId="ADAL" clId="{FD3CABF8-DF65-412F-A148-1057C8995332}" dt="2024-01-30T20:35:27.587" v="3441" actId="20577"/>
        <pc:sldMkLst>
          <pc:docMk/>
          <pc:sldMk cId="3571671324" sldId="2147140445"/>
        </pc:sldMkLst>
        <pc:spChg chg="mod">
          <ac:chgData name="Nick Garvin" userId="7d53f32c-f093-4e10-bba7-f989ea1fbf1d" providerId="ADAL" clId="{FD3CABF8-DF65-412F-A148-1057C8995332}" dt="2024-01-30T20:35:27.587" v="3441" actId="20577"/>
          <ac:spMkLst>
            <pc:docMk/>
            <pc:sldMk cId="3571671324" sldId="2147140445"/>
            <ac:spMk id="3" creationId="{2A786F7C-A62B-9F44-8235-CB1AFBA14534}"/>
          </ac:spMkLst>
        </pc:spChg>
        <pc:spChg chg="mod">
          <ac:chgData name="Nick Garvin" userId="7d53f32c-f093-4e10-bba7-f989ea1fbf1d" providerId="ADAL" clId="{FD3CABF8-DF65-412F-A148-1057C8995332}" dt="2024-01-30T05:21:04.064" v="1288" actId="20577"/>
          <ac:spMkLst>
            <pc:docMk/>
            <pc:sldMk cId="3571671324" sldId="2147140445"/>
            <ac:spMk id="4" creationId="{C89BE9B3-34D3-3301-CE4A-309ABB1FA795}"/>
          </ac:spMkLst>
        </pc:spChg>
        <pc:picChg chg="add del mod">
          <ac:chgData name="Nick Garvin" userId="7d53f32c-f093-4e10-bba7-f989ea1fbf1d" providerId="ADAL" clId="{FD3CABF8-DF65-412F-A148-1057C8995332}" dt="2024-01-30T05:48:28.370" v="1482" actId="478"/>
          <ac:picMkLst>
            <pc:docMk/>
            <pc:sldMk cId="3571671324" sldId="2147140445"/>
            <ac:picMk id="6" creationId="{6D860900-8487-7689-6BB0-AC0C4A10486B}"/>
          </ac:picMkLst>
        </pc:picChg>
        <pc:picChg chg="add del mod">
          <ac:chgData name="Nick Garvin" userId="7d53f32c-f093-4e10-bba7-f989ea1fbf1d" providerId="ADAL" clId="{FD3CABF8-DF65-412F-A148-1057C8995332}" dt="2024-01-30T05:51:20.550" v="1502" actId="478"/>
          <ac:picMkLst>
            <pc:docMk/>
            <pc:sldMk cId="3571671324" sldId="2147140445"/>
            <ac:picMk id="8" creationId="{4FBB8D28-D866-64E0-C37D-1D94EAACB95A}"/>
          </ac:picMkLst>
        </pc:picChg>
        <pc:picChg chg="add mod">
          <ac:chgData name="Nick Garvin" userId="7d53f32c-f093-4e10-bba7-f989ea1fbf1d" providerId="ADAL" clId="{FD3CABF8-DF65-412F-A148-1057C8995332}" dt="2024-01-30T05:40:13.823" v="1480" actId="1076"/>
          <ac:picMkLst>
            <pc:docMk/>
            <pc:sldMk cId="3571671324" sldId="2147140445"/>
            <ac:picMk id="10" creationId="{74B6792E-D02E-2BCB-0AF9-485F551D2AC1}"/>
          </ac:picMkLst>
        </pc:picChg>
        <pc:picChg chg="add del mod">
          <ac:chgData name="Nick Garvin" userId="7d53f32c-f093-4e10-bba7-f989ea1fbf1d" providerId="ADAL" clId="{FD3CABF8-DF65-412F-A148-1057C8995332}" dt="2024-01-30T05:48:44.358" v="1490" actId="478"/>
          <ac:picMkLst>
            <pc:docMk/>
            <pc:sldMk cId="3571671324" sldId="2147140445"/>
            <ac:picMk id="12" creationId="{39CD66F9-34CE-650A-E3D6-E65985D1AA8D}"/>
          </ac:picMkLst>
        </pc:picChg>
        <pc:picChg chg="add del mod">
          <ac:chgData name="Nick Garvin" userId="7d53f32c-f093-4e10-bba7-f989ea1fbf1d" providerId="ADAL" clId="{FD3CABF8-DF65-412F-A148-1057C8995332}" dt="2024-01-30T05:49:11.227" v="1497" actId="478"/>
          <ac:picMkLst>
            <pc:docMk/>
            <pc:sldMk cId="3571671324" sldId="2147140445"/>
            <ac:picMk id="14" creationId="{BC32F430-1396-A8CE-1C7B-F1E770A58269}"/>
          </ac:picMkLst>
        </pc:picChg>
        <pc:picChg chg="add mod">
          <ac:chgData name="Nick Garvin" userId="7d53f32c-f093-4e10-bba7-f989ea1fbf1d" providerId="ADAL" clId="{FD3CABF8-DF65-412F-A148-1057C8995332}" dt="2024-01-30T05:58:07.929" v="1777" actId="1076"/>
          <ac:picMkLst>
            <pc:docMk/>
            <pc:sldMk cId="3571671324" sldId="2147140445"/>
            <ac:picMk id="16" creationId="{E2636F5A-09C6-3121-1127-67DFA85B612A}"/>
          </ac:picMkLst>
        </pc:picChg>
        <pc:picChg chg="add mod">
          <ac:chgData name="Nick Garvin" userId="7d53f32c-f093-4e10-bba7-f989ea1fbf1d" providerId="ADAL" clId="{FD3CABF8-DF65-412F-A148-1057C8995332}" dt="2024-01-30T05:58:06.950" v="1776" actId="14100"/>
          <ac:picMkLst>
            <pc:docMk/>
            <pc:sldMk cId="3571671324" sldId="2147140445"/>
            <ac:picMk id="18" creationId="{71C854C0-62C9-CA04-DFB0-8DC6B1EE069F}"/>
          </ac:picMkLst>
        </pc:picChg>
      </pc:sldChg>
      <pc:sldChg chg="addSp modSp add mod ord setBg modNotesTx">
        <pc:chgData name="Nick Garvin" userId="7d53f32c-f093-4e10-bba7-f989ea1fbf1d" providerId="ADAL" clId="{FD3CABF8-DF65-412F-A148-1057C8995332}" dt="2024-01-31T04:00:33.040" v="9439" actId="5793"/>
        <pc:sldMkLst>
          <pc:docMk/>
          <pc:sldMk cId="4208772369" sldId="2147140446"/>
        </pc:sldMkLst>
        <pc:spChg chg="mod">
          <ac:chgData name="Nick Garvin" userId="7d53f32c-f093-4e10-bba7-f989ea1fbf1d" providerId="ADAL" clId="{FD3CABF8-DF65-412F-A148-1057C8995332}" dt="2024-01-30T05:57:45.604" v="1774" actId="1035"/>
          <ac:spMkLst>
            <pc:docMk/>
            <pc:sldMk cId="4208772369" sldId="2147140446"/>
            <ac:spMk id="7" creationId="{36DFE691-484D-0A62-B4FF-81300FDD9C7F}"/>
          </ac:spMkLst>
        </pc:spChg>
        <pc:spChg chg="mod">
          <ac:chgData name="Nick Garvin" userId="7d53f32c-f093-4e10-bba7-f989ea1fbf1d" providerId="ADAL" clId="{FD3CABF8-DF65-412F-A148-1057C8995332}" dt="2024-01-30T05:57:45.604" v="1774" actId="1035"/>
          <ac:spMkLst>
            <pc:docMk/>
            <pc:sldMk cId="4208772369" sldId="2147140446"/>
            <ac:spMk id="8" creationId="{8BAD583D-414C-8D2B-DA03-8F81A23522E2}"/>
          </ac:spMkLst>
        </pc:spChg>
        <pc:spChg chg="mod">
          <ac:chgData name="Nick Garvin" userId="7d53f32c-f093-4e10-bba7-f989ea1fbf1d" providerId="ADAL" clId="{FD3CABF8-DF65-412F-A148-1057C8995332}" dt="2024-01-30T05:57:45.604" v="1774" actId="1035"/>
          <ac:spMkLst>
            <pc:docMk/>
            <pc:sldMk cId="4208772369" sldId="2147140446"/>
            <ac:spMk id="9" creationId="{C7F4955A-2927-2A7F-F09E-0AAD319A92DD}"/>
          </ac:spMkLst>
        </pc:spChg>
        <pc:spChg chg="mod">
          <ac:chgData name="Nick Garvin" userId="7d53f32c-f093-4e10-bba7-f989ea1fbf1d" providerId="ADAL" clId="{FD3CABF8-DF65-412F-A148-1057C8995332}" dt="2024-01-30T05:57:45.604" v="1774" actId="1035"/>
          <ac:spMkLst>
            <pc:docMk/>
            <pc:sldMk cId="4208772369" sldId="2147140446"/>
            <ac:spMk id="10" creationId="{FA8EA512-8EB5-AB46-84BC-685DB8D2434F}"/>
          </ac:spMkLst>
        </pc:spChg>
        <pc:picChg chg="add mod">
          <ac:chgData name="Nick Garvin" userId="7d53f32c-f093-4e10-bba7-f989ea1fbf1d" providerId="ADAL" clId="{FD3CABF8-DF65-412F-A148-1057C8995332}" dt="2024-01-30T20:13:55.593" v="2894" actId="1076"/>
          <ac:picMkLst>
            <pc:docMk/>
            <pc:sldMk cId="4208772369" sldId="2147140446"/>
            <ac:picMk id="2" creationId="{0958D15E-8313-6329-C5C7-8F73B801E17E}"/>
          </ac:picMkLst>
        </pc:picChg>
      </pc:sldChg>
      <pc:sldChg chg="addSp delSp modSp add del mod">
        <pc:chgData name="Nick Garvin" userId="7d53f32c-f093-4e10-bba7-f989ea1fbf1d" providerId="ADAL" clId="{FD3CABF8-DF65-412F-A148-1057C8995332}" dt="2024-01-30T22:18:20.775" v="6351" actId="47"/>
        <pc:sldMkLst>
          <pc:docMk/>
          <pc:sldMk cId="3698768169" sldId="2147140447"/>
        </pc:sldMkLst>
        <pc:spChg chg="mod">
          <ac:chgData name="Nick Garvin" userId="7d53f32c-f093-4e10-bba7-f989ea1fbf1d" providerId="ADAL" clId="{FD3CABF8-DF65-412F-A148-1057C8995332}" dt="2024-01-30T05:59:14.915" v="1812" actId="20577"/>
          <ac:spMkLst>
            <pc:docMk/>
            <pc:sldMk cId="3698768169" sldId="2147140447"/>
            <ac:spMk id="3" creationId="{2A786F7C-A62B-9F44-8235-CB1AFBA14534}"/>
          </ac:spMkLst>
        </pc:spChg>
        <pc:spChg chg="add mod">
          <ac:chgData name="Nick Garvin" userId="7d53f32c-f093-4e10-bba7-f989ea1fbf1d" providerId="ADAL" clId="{FD3CABF8-DF65-412F-A148-1057C8995332}" dt="2024-01-30T20:14:31.167" v="2936" actId="20577"/>
          <ac:spMkLst>
            <pc:docMk/>
            <pc:sldMk cId="3698768169" sldId="2147140447"/>
            <ac:spMk id="5" creationId="{98B3B8F1-22C1-C192-9D9B-78ACFE86E2CF}"/>
          </ac:spMkLst>
        </pc:spChg>
        <pc:picChg chg="del">
          <ac:chgData name="Nick Garvin" userId="7d53f32c-f093-4e10-bba7-f989ea1fbf1d" providerId="ADAL" clId="{FD3CABF8-DF65-412F-A148-1057C8995332}" dt="2024-01-30T05:58:15.267" v="1779" actId="478"/>
          <ac:picMkLst>
            <pc:docMk/>
            <pc:sldMk cId="3698768169" sldId="2147140447"/>
            <ac:picMk id="16" creationId="{E2636F5A-09C6-3121-1127-67DFA85B612A}"/>
          </ac:picMkLst>
        </pc:picChg>
        <pc:picChg chg="del">
          <ac:chgData name="Nick Garvin" userId="7d53f32c-f093-4e10-bba7-f989ea1fbf1d" providerId="ADAL" clId="{FD3CABF8-DF65-412F-A148-1057C8995332}" dt="2024-01-30T05:58:15.731" v="1780" actId="478"/>
          <ac:picMkLst>
            <pc:docMk/>
            <pc:sldMk cId="3698768169" sldId="2147140447"/>
            <ac:picMk id="18" creationId="{71C854C0-62C9-CA04-DFB0-8DC6B1EE069F}"/>
          </ac:picMkLst>
        </pc:picChg>
      </pc:sldChg>
      <pc:sldChg chg="addSp modSp new mod modNotesTx">
        <pc:chgData name="Nick Garvin" userId="7d53f32c-f093-4e10-bba7-f989ea1fbf1d" providerId="ADAL" clId="{FD3CABF8-DF65-412F-A148-1057C8995332}" dt="2024-01-31T03:58:42.690" v="9431" actId="20577"/>
        <pc:sldMkLst>
          <pc:docMk/>
          <pc:sldMk cId="2488590235" sldId="2147140448"/>
        </pc:sldMkLst>
        <pc:spChg chg="mod">
          <ac:chgData name="Nick Garvin" userId="7d53f32c-f093-4e10-bba7-f989ea1fbf1d" providerId="ADAL" clId="{FD3CABF8-DF65-412F-A148-1057C8995332}" dt="2024-01-31T03:58:00.039" v="9411" actId="20577"/>
          <ac:spMkLst>
            <pc:docMk/>
            <pc:sldMk cId="2488590235" sldId="2147140448"/>
            <ac:spMk id="3" creationId="{71699330-1659-7005-610A-9273EAF805A7}"/>
          </ac:spMkLst>
        </pc:spChg>
        <pc:spChg chg="mod">
          <ac:chgData name="Nick Garvin" userId="7d53f32c-f093-4e10-bba7-f989ea1fbf1d" providerId="ADAL" clId="{FD3CABF8-DF65-412F-A148-1057C8995332}" dt="2024-01-30T22:10:31.464" v="5683" actId="20577"/>
          <ac:spMkLst>
            <pc:docMk/>
            <pc:sldMk cId="2488590235" sldId="2147140448"/>
            <ac:spMk id="4" creationId="{06F7E532-38A3-9557-D195-8C2E21F7CD3E}"/>
          </ac:spMkLst>
        </pc:spChg>
        <pc:spChg chg="add mod">
          <ac:chgData name="Nick Garvin" userId="7d53f32c-f093-4e10-bba7-f989ea1fbf1d" providerId="ADAL" clId="{FD3CABF8-DF65-412F-A148-1057C8995332}" dt="2024-01-31T03:58:42.690" v="9431" actId="20577"/>
          <ac:spMkLst>
            <pc:docMk/>
            <pc:sldMk cId="2488590235" sldId="2147140448"/>
            <ac:spMk id="5" creationId="{C62B380C-8C82-5763-7BD1-EED862B4129C}"/>
          </ac:spMkLst>
        </pc:spChg>
        <pc:picChg chg="add mod">
          <ac:chgData name="Nick Garvin" userId="7d53f32c-f093-4e10-bba7-f989ea1fbf1d" providerId="ADAL" clId="{FD3CABF8-DF65-412F-A148-1057C8995332}" dt="2024-01-30T20:42:21.310" v="3640" actId="1076"/>
          <ac:picMkLst>
            <pc:docMk/>
            <pc:sldMk cId="2488590235" sldId="2147140448"/>
            <ac:picMk id="8" creationId="{E5EE8443-A959-EFD6-B897-F54F315855FA}"/>
          </ac:picMkLst>
        </pc:picChg>
        <pc:cxnChg chg="add mod">
          <ac:chgData name="Nick Garvin" userId="7d53f32c-f093-4e10-bba7-f989ea1fbf1d" providerId="ADAL" clId="{FD3CABF8-DF65-412F-A148-1057C8995332}" dt="2024-01-30T20:42:40.676" v="3642" actId="1076"/>
          <ac:cxnSpMkLst>
            <pc:docMk/>
            <pc:sldMk cId="2488590235" sldId="2147140448"/>
            <ac:cxnSpMk id="6" creationId="{509A9E5C-8DA6-F50A-28E1-F98D8498DF08}"/>
          </ac:cxnSpMkLst>
        </pc:cxnChg>
      </pc:sldChg>
      <pc:sldChg chg="new del">
        <pc:chgData name="Nick Garvin" userId="7d53f32c-f093-4e10-bba7-f989ea1fbf1d" providerId="ADAL" clId="{FD3CABF8-DF65-412F-A148-1057C8995332}" dt="2024-01-30T20:33:59.313" v="3422" actId="47"/>
        <pc:sldMkLst>
          <pc:docMk/>
          <pc:sldMk cId="2063791438" sldId="2147140449"/>
        </pc:sldMkLst>
      </pc:sldChg>
      <pc:sldChg chg="addSp delSp modSp new mod">
        <pc:chgData name="Nick Garvin" userId="7d53f32c-f093-4e10-bba7-f989ea1fbf1d" providerId="ADAL" clId="{FD3CABF8-DF65-412F-A148-1057C8995332}" dt="2024-01-30T21:37:17.330" v="4884" actId="1076"/>
        <pc:sldMkLst>
          <pc:docMk/>
          <pc:sldMk cId="1550753523" sldId="2147140450"/>
        </pc:sldMkLst>
        <pc:spChg chg="del">
          <ac:chgData name="Nick Garvin" userId="7d53f32c-f093-4e10-bba7-f989ea1fbf1d" providerId="ADAL" clId="{FD3CABF8-DF65-412F-A148-1057C8995332}" dt="2024-01-30T20:32:16.171" v="3402" actId="478"/>
          <ac:spMkLst>
            <pc:docMk/>
            <pc:sldMk cId="1550753523" sldId="2147140450"/>
            <ac:spMk id="3" creationId="{E7359407-7659-D91B-857A-1FAA519AEAC6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4" creationId="{E87FC400-D916-8DB3-0752-65DA4D705E5D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5" creationId="{892343FF-A32B-A2A5-D736-10A3DB4D9243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6" creationId="{E8CC9C55-0A42-0794-2F49-B363D7BFD7A4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7" creationId="{03E12020-4E3A-DB6D-0D3C-8586FB61A1EE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8" creationId="{D65A32BB-CFBD-63A4-E1BA-3CC35899C898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13" creationId="{DB16C9E4-C73B-6D0F-93F5-A51F6700EDE9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14" creationId="{B41A7015-A2E5-1DCC-6F3E-5099E6C166BF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15" creationId="{6E9A7363-CB47-7A10-764C-7F94A7C0D0A1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16" creationId="{11D15AEB-85D5-173E-A45A-2AAA65162115}"/>
          </ac:spMkLst>
        </pc:spChg>
        <pc:spChg chg="add mod">
          <ac:chgData name="Nick Garvin" userId="7d53f32c-f093-4e10-bba7-f989ea1fbf1d" providerId="ADAL" clId="{FD3CABF8-DF65-412F-A148-1057C8995332}" dt="2024-01-30T20:34:11.778" v="3431" actId="20577"/>
          <ac:spMkLst>
            <pc:docMk/>
            <pc:sldMk cId="1550753523" sldId="2147140450"/>
            <ac:spMk id="17" creationId="{B60B9E1E-A08F-A851-9DC9-EEB652A6F4EC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18" creationId="{19CF6D7D-D809-3A39-6481-8265C16AEAEE}"/>
          </ac:spMkLst>
        </pc:spChg>
        <pc:spChg chg="add mod">
          <ac:chgData name="Nick Garvin" userId="7d53f32c-f093-4e10-bba7-f989ea1fbf1d" providerId="ADAL" clId="{FD3CABF8-DF65-412F-A148-1057C8995332}" dt="2024-01-30T20:32:13.682" v="3401"/>
          <ac:spMkLst>
            <pc:docMk/>
            <pc:sldMk cId="1550753523" sldId="2147140450"/>
            <ac:spMk id="20" creationId="{72F73850-0BA3-E179-0D66-95AE276ED858}"/>
          </ac:spMkLst>
        </pc:spChg>
        <pc:graphicFrameChg chg="add mod">
          <ac:chgData name="Nick Garvin" userId="7d53f32c-f093-4e10-bba7-f989ea1fbf1d" providerId="ADAL" clId="{FD3CABF8-DF65-412F-A148-1057C8995332}" dt="2024-01-30T20:32:13.682" v="3401"/>
          <ac:graphicFrameMkLst>
            <pc:docMk/>
            <pc:sldMk cId="1550753523" sldId="2147140450"/>
            <ac:graphicFrameMk id="19" creationId="{C2192863-EF2B-073A-7604-7C8AF1315D38}"/>
          </ac:graphicFrameMkLst>
        </pc:graphicFrameChg>
        <pc:picChg chg="add mod">
          <ac:chgData name="Nick Garvin" userId="7d53f32c-f093-4e10-bba7-f989ea1fbf1d" providerId="ADAL" clId="{FD3CABF8-DF65-412F-A148-1057C8995332}" dt="2024-01-30T21:37:17.330" v="4884" actId="1076"/>
          <ac:picMkLst>
            <pc:docMk/>
            <pc:sldMk cId="1550753523" sldId="2147140450"/>
            <ac:picMk id="21" creationId="{15587A50-3517-A091-C638-D2E1481D02C0}"/>
          </ac:picMkLst>
        </pc:picChg>
        <pc:cxnChg chg="add mod">
          <ac:chgData name="Nick Garvin" userId="7d53f32c-f093-4e10-bba7-f989ea1fbf1d" providerId="ADAL" clId="{FD3CABF8-DF65-412F-A148-1057C8995332}" dt="2024-01-30T20:32:13.682" v="3401"/>
          <ac:cxnSpMkLst>
            <pc:docMk/>
            <pc:sldMk cId="1550753523" sldId="2147140450"/>
            <ac:cxnSpMk id="9" creationId="{2A83D664-884C-D75C-B3CA-81A8B4DC072F}"/>
          </ac:cxnSpMkLst>
        </pc:cxnChg>
        <pc:cxnChg chg="add mod">
          <ac:chgData name="Nick Garvin" userId="7d53f32c-f093-4e10-bba7-f989ea1fbf1d" providerId="ADAL" clId="{FD3CABF8-DF65-412F-A148-1057C8995332}" dt="2024-01-30T20:32:13.682" v="3401"/>
          <ac:cxnSpMkLst>
            <pc:docMk/>
            <pc:sldMk cId="1550753523" sldId="2147140450"/>
            <ac:cxnSpMk id="10" creationId="{CB1C944F-2125-A5DD-2507-DA2C0F274F87}"/>
          </ac:cxnSpMkLst>
        </pc:cxnChg>
        <pc:cxnChg chg="add mod">
          <ac:chgData name="Nick Garvin" userId="7d53f32c-f093-4e10-bba7-f989ea1fbf1d" providerId="ADAL" clId="{FD3CABF8-DF65-412F-A148-1057C8995332}" dt="2024-01-30T20:32:13.682" v="3401"/>
          <ac:cxnSpMkLst>
            <pc:docMk/>
            <pc:sldMk cId="1550753523" sldId="2147140450"/>
            <ac:cxnSpMk id="11" creationId="{F3A7A870-7A15-E1EF-A034-0E4C820AB824}"/>
          </ac:cxnSpMkLst>
        </pc:cxnChg>
        <pc:cxnChg chg="add mod">
          <ac:chgData name="Nick Garvin" userId="7d53f32c-f093-4e10-bba7-f989ea1fbf1d" providerId="ADAL" clId="{FD3CABF8-DF65-412F-A148-1057C8995332}" dt="2024-01-30T20:32:13.682" v="3401"/>
          <ac:cxnSpMkLst>
            <pc:docMk/>
            <pc:sldMk cId="1550753523" sldId="2147140450"/>
            <ac:cxnSpMk id="12" creationId="{99638687-A95B-1040-A87C-837E57E0C6E6}"/>
          </ac:cxnSpMkLst>
        </pc:cxnChg>
      </pc:sldChg>
      <pc:sldChg chg="addSp delSp modSp new mod modNotesTx">
        <pc:chgData name="Nick Garvin" userId="7d53f32c-f093-4e10-bba7-f989ea1fbf1d" providerId="ADAL" clId="{FD3CABF8-DF65-412F-A148-1057C8995332}" dt="2024-01-31T04:03:29.150" v="9451" actId="1037"/>
        <pc:sldMkLst>
          <pc:docMk/>
          <pc:sldMk cId="3088231808" sldId="2147140451"/>
        </pc:sldMkLst>
        <pc:spChg chg="mod">
          <ac:chgData name="Nick Garvin" userId="7d53f32c-f093-4e10-bba7-f989ea1fbf1d" providerId="ADAL" clId="{FD3CABF8-DF65-412F-A148-1057C8995332}" dt="2024-01-31T04:03:24.546" v="9441" actId="1076"/>
          <ac:spMkLst>
            <pc:docMk/>
            <pc:sldMk cId="3088231808" sldId="2147140451"/>
            <ac:spMk id="3" creationId="{EC32CDD8-9F0F-0012-73C2-A1C662A8D7C5}"/>
          </ac:spMkLst>
        </pc:spChg>
        <pc:spChg chg="mod">
          <ac:chgData name="Nick Garvin" userId="7d53f32c-f093-4e10-bba7-f989ea1fbf1d" providerId="ADAL" clId="{FD3CABF8-DF65-412F-A148-1057C8995332}" dt="2024-01-30T22:10:37.799" v="5686" actId="20577"/>
          <ac:spMkLst>
            <pc:docMk/>
            <pc:sldMk cId="3088231808" sldId="2147140451"/>
            <ac:spMk id="4" creationId="{55E50F20-BC9D-55E4-8818-A43069A3A926}"/>
          </ac:spMkLst>
        </pc:spChg>
        <pc:spChg chg="add mod">
          <ac:chgData name="Nick Garvin" userId="7d53f32c-f093-4e10-bba7-f989ea1fbf1d" providerId="ADAL" clId="{FD3CABF8-DF65-412F-A148-1057C8995332}" dt="2024-01-31T04:03:29.150" v="9451" actId="1037"/>
          <ac:spMkLst>
            <pc:docMk/>
            <pc:sldMk cId="3088231808" sldId="2147140451"/>
            <ac:spMk id="7" creationId="{67C68768-2FE1-26B5-A951-9DDF65FEA2F8}"/>
          </ac:spMkLst>
        </pc:spChg>
        <pc:picChg chg="add del mod">
          <ac:chgData name="Nick Garvin" userId="7d53f32c-f093-4e10-bba7-f989ea1fbf1d" providerId="ADAL" clId="{FD3CABF8-DF65-412F-A148-1057C8995332}" dt="2024-01-30T21:20:48.962" v="4629" actId="478"/>
          <ac:picMkLst>
            <pc:docMk/>
            <pc:sldMk cId="3088231808" sldId="2147140451"/>
            <ac:picMk id="6" creationId="{6003D4A7-F403-C770-B346-1DCB9D25F690}"/>
          </ac:picMkLst>
        </pc:picChg>
        <pc:picChg chg="add del mod">
          <ac:chgData name="Nick Garvin" userId="7d53f32c-f093-4e10-bba7-f989ea1fbf1d" providerId="ADAL" clId="{FD3CABF8-DF65-412F-A148-1057C8995332}" dt="2024-01-30T21:21:12.024" v="4633" actId="478"/>
          <ac:picMkLst>
            <pc:docMk/>
            <pc:sldMk cId="3088231808" sldId="2147140451"/>
            <ac:picMk id="10" creationId="{859F6097-07CF-1EA3-3577-F3DD0BEB5388}"/>
          </ac:picMkLst>
        </pc:picChg>
        <pc:picChg chg="add mod">
          <ac:chgData name="Nick Garvin" userId="7d53f32c-f093-4e10-bba7-f989ea1fbf1d" providerId="ADAL" clId="{FD3CABF8-DF65-412F-A148-1057C8995332}" dt="2024-01-31T00:10:39.324" v="7467" actId="14100"/>
          <ac:picMkLst>
            <pc:docMk/>
            <pc:sldMk cId="3088231808" sldId="2147140451"/>
            <ac:picMk id="12" creationId="{53F20B53-58E1-92A2-E02A-4F26A0B04903}"/>
          </ac:picMkLst>
        </pc:picChg>
        <pc:cxnChg chg="add mod">
          <ac:chgData name="Nick Garvin" userId="7d53f32c-f093-4e10-bba7-f989ea1fbf1d" providerId="ADAL" clId="{FD3CABF8-DF65-412F-A148-1057C8995332}" dt="2024-01-31T04:03:29.150" v="9451" actId="1037"/>
          <ac:cxnSpMkLst>
            <pc:docMk/>
            <pc:sldMk cId="3088231808" sldId="2147140451"/>
            <ac:cxnSpMk id="8" creationId="{2E9C3F40-4D64-32AC-0F11-4E1E88BEECC8}"/>
          </ac:cxnSpMkLst>
        </pc:cxnChg>
      </pc:sldChg>
      <pc:sldChg chg="addSp delSp modSp new mod modNotesTx">
        <pc:chgData name="Nick Garvin" userId="7d53f32c-f093-4e10-bba7-f989ea1fbf1d" providerId="ADAL" clId="{FD3CABF8-DF65-412F-A148-1057C8995332}" dt="2024-01-31T00:55:20.884" v="7682" actId="1035"/>
        <pc:sldMkLst>
          <pc:docMk/>
          <pc:sldMk cId="2437966918" sldId="2147140452"/>
        </pc:sldMkLst>
        <pc:spChg chg="mod">
          <ac:chgData name="Nick Garvin" userId="7d53f32c-f093-4e10-bba7-f989ea1fbf1d" providerId="ADAL" clId="{FD3CABF8-DF65-412F-A148-1057C8995332}" dt="2024-01-31T00:55:20.884" v="7682" actId="1035"/>
          <ac:spMkLst>
            <pc:docMk/>
            <pc:sldMk cId="2437966918" sldId="2147140452"/>
            <ac:spMk id="3" creationId="{F017362A-5806-DD96-6360-5B2C7F838AD5}"/>
          </ac:spMkLst>
        </pc:spChg>
        <pc:spChg chg="mod">
          <ac:chgData name="Nick Garvin" userId="7d53f32c-f093-4e10-bba7-f989ea1fbf1d" providerId="ADAL" clId="{FD3CABF8-DF65-412F-A148-1057C8995332}" dt="2024-01-30T22:10:46.039" v="5695" actId="20577"/>
          <ac:spMkLst>
            <pc:docMk/>
            <pc:sldMk cId="2437966918" sldId="2147140452"/>
            <ac:spMk id="4" creationId="{31B8EC36-92A6-F647-25E0-0772DA1681D4}"/>
          </ac:spMkLst>
        </pc:spChg>
        <pc:picChg chg="add del mod">
          <ac:chgData name="Nick Garvin" userId="7d53f32c-f093-4e10-bba7-f989ea1fbf1d" providerId="ADAL" clId="{FD3CABF8-DF65-412F-A148-1057C8995332}" dt="2024-01-30T21:23:48.835" v="4639" actId="478"/>
          <ac:picMkLst>
            <pc:docMk/>
            <pc:sldMk cId="2437966918" sldId="2147140452"/>
            <ac:picMk id="6" creationId="{FCBA0FE2-9187-EA9A-F355-12DF33078EEA}"/>
          </ac:picMkLst>
        </pc:picChg>
        <pc:picChg chg="add mod">
          <ac:chgData name="Nick Garvin" userId="7d53f32c-f093-4e10-bba7-f989ea1fbf1d" providerId="ADAL" clId="{FD3CABF8-DF65-412F-A148-1057C8995332}" dt="2024-01-30T21:29:43.746" v="4655" actId="14100"/>
          <ac:picMkLst>
            <pc:docMk/>
            <pc:sldMk cId="2437966918" sldId="2147140452"/>
            <ac:picMk id="8" creationId="{635D4B71-3F7E-A2F4-BE58-6A4BA4221C39}"/>
          </ac:picMkLst>
        </pc:picChg>
        <pc:picChg chg="add mod">
          <ac:chgData name="Nick Garvin" userId="7d53f32c-f093-4e10-bba7-f989ea1fbf1d" providerId="ADAL" clId="{FD3CABF8-DF65-412F-A148-1057C8995332}" dt="2024-01-30T21:36:16.027" v="4883" actId="1076"/>
          <ac:picMkLst>
            <pc:docMk/>
            <pc:sldMk cId="2437966918" sldId="2147140452"/>
            <ac:picMk id="10" creationId="{60ABFFE5-8E64-B63C-072A-EF5133CCCD22}"/>
          </ac:picMkLst>
        </pc:picChg>
      </pc:sldChg>
      <pc:sldChg chg="addSp delSp modSp new mod modNotesTx">
        <pc:chgData name="Nick Garvin" userId="7d53f32c-f093-4e10-bba7-f989ea1fbf1d" providerId="ADAL" clId="{FD3CABF8-DF65-412F-A148-1057C8995332}" dt="2024-01-31T00:55:36.229" v="7717" actId="20577"/>
        <pc:sldMkLst>
          <pc:docMk/>
          <pc:sldMk cId="1210635642" sldId="2147140453"/>
        </pc:sldMkLst>
        <pc:spChg chg="mod">
          <ac:chgData name="Nick Garvin" userId="7d53f32c-f093-4e10-bba7-f989ea1fbf1d" providerId="ADAL" clId="{FD3CABF8-DF65-412F-A148-1057C8995332}" dt="2024-01-30T22:10:02.179" v="5673" actId="1076"/>
          <ac:spMkLst>
            <pc:docMk/>
            <pc:sldMk cId="1210635642" sldId="2147140453"/>
            <ac:spMk id="3" creationId="{6FA382EB-B30F-A4AF-D3F3-F4FF397F4241}"/>
          </ac:spMkLst>
        </pc:spChg>
        <pc:spChg chg="mod">
          <ac:chgData name="Nick Garvin" userId="7d53f32c-f093-4e10-bba7-f989ea1fbf1d" providerId="ADAL" clId="{FD3CABF8-DF65-412F-A148-1057C8995332}" dt="2024-01-30T22:10:54.835" v="5705" actId="20577"/>
          <ac:spMkLst>
            <pc:docMk/>
            <pc:sldMk cId="1210635642" sldId="2147140453"/>
            <ac:spMk id="4" creationId="{CCFE5E74-B753-77F4-22A8-78F24B5C865E}"/>
          </ac:spMkLst>
        </pc:spChg>
        <pc:picChg chg="add del mod">
          <ac:chgData name="Nick Garvin" userId="7d53f32c-f093-4e10-bba7-f989ea1fbf1d" providerId="ADAL" clId="{FD3CABF8-DF65-412F-A148-1057C8995332}" dt="2024-01-30T22:08:06.240" v="5517" actId="478"/>
          <ac:picMkLst>
            <pc:docMk/>
            <pc:sldMk cId="1210635642" sldId="2147140453"/>
            <ac:picMk id="6" creationId="{A3043BF9-5E6B-AFB1-5268-59003AD222D6}"/>
          </ac:picMkLst>
        </pc:picChg>
        <pc:picChg chg="add mod">
          <ac:chgData name="Nick Garvin" userId="7d53f32c-f093-4e10-bba7-f989ea1fbf1d" providerId="ADAL" clId="{FD3CABF8-DF65-412F-A148-1057C8995332}" dt="2024-01-30T22:08:43.417" v="5525" actId="1076"/>
          <ac:picMkLst>
            <pc:docMk/>
            <pc:sldMk cId="1210635642" sldId="2147140453"/>
            <ac:picMk id="8" creationId="{AEBFE7A2-9A19-4365-4299-3FDB12EB1160}"/>
          </ac:picMkLst>
        </pc:picChg>
        <pc:picChg chg="add mod">
          <ac:chgData name="Nick Garvin" userId="7d53f32c-f093-4e10-bba7-f989ea1fbf1d" providerId="ADAL" clId="{FD3CABF8-DF65-412F-A148-1057C8995332}" dt="2024-01-30T22:08:50.025" v="5526" actId="1076"/>
          <ac:picMkLst>
            <pc:docMk/>
            <pc:sldMk cId="1210635642" sldId="2147140453"/>
            <ac:picMk id="10" creationId="{42F81677-D5C2-1716-ED24-860C0859A164}"/>
          </ac:picMkLst>
        </pc:picChg>
      </pc:sldChg>
      <pc:sldChg chg="addSp delSp modSp new mod modNotesTx">
        <pc:chgData name="Nick Garvin" userId="7d53f32c-f093-4e10-bba7-f989ea1fbf1d" providerId="ADAL" clId="{FD3CABF8-DF65-412F-A148-1057C8995332}" dt="2024-01-31T04:11:51.859" v="9476" actId="208"/>
        <pc:sldMkLst>
          <pc:docMk/>
          <pc:sldMk cId="1783209757" sldId="2147140454"/>
        </pc:sldMkLst>
        <pc:spChg chg="mod">
          <ac:chgData name="Nick Garvin" userId="7d53f32c-f093-4e10-bba7-f989ea1fbf1d" providerId="ADAL" clId="{FD3CABF8-DF65-412F-A148-1057C8995332}" dt="2024-01-30T22:16:57.253" v="6311" actId="20577"/>
          <ac:spMkLst>
            <pc:docMk/>
            <pc:sldMk cId="1783209757" sldId="2147140454"/>
            <ac:spMk id="3" creationId="{C18CD542-FBFA-A28B-9506-2EA0916F0EEC}"/>
          </ac:spMkLst>
        </pc:spChg>
        <pc:spChg chg="mod">
          <ac:chgData name="Nick Garvin" userId="7d53f32c-f093-4e10-bba7-f989ea1fbf1d" providerId="ADAL" clId="{FD3CABF8-DF65-412F-A148-1057C8995332}" dt="2024-01-30T22:14:02.031" v="5971" actId="20577"/>
          <ac:spMkLst>
            <pc:docMk/>
            <pc:sldMk cId="1783209757" sldId="2147140454"/>
            <ac:spMk id="4" creationId="{3C8AFEDD-BAEF-C31F-CA62-F2EBC6E4E360}"/>
          </ac:spMkLst>
        </pc:spChg>
        <pc:spChg chg="add mod">
          <ac:chgData name="Nick Garvin" userId="7d53f32c-f093-4e10-bba7-f989ea1fbf1d" providerId="ADAL" clId="{FD3CABF8-DF65-412F-A148-1057C8995332}" dt="2024-01-31T04:11:51.859" v="9476" actId="208"/>
          <ac:spMkLst>
            <pc:docMk/>
            <pc:sldMk cId="1783209757" sldId="2147140454"/>
            <ac:spMk id="5" creationId="{A4C50E87-B9F5-EDEC-2449-C38BBB00A56D}"/>
          </ac:spMkLst>
        </pc:spChg>
        <pc:spChg chg="add mod">
          <ac:chgData name="Nick Garvin" userId="7d53f32c-f093-4e10-bba7-f989ea1fbf1d" providerId="ADAL" clId="{FD3CABF8-DF65-412F-A148-1057C8995332}" dt="2024-01-31T00:04:39.261" v="7383" actId="14100"/>
          <ac:spMkLst>
            <pc:docMk/>
            <pc:sldMk cId="1783209757" sldId="2147140454"/>
            <ac:spMk id="6" creationId="{5E87A671-B6B9-CA7A-09F4-C43E63EC2E30}"/>
          </ac:spMkLst>
        </pc:spChg>
        <pc:spChg chg="add mod">
          <ac:chgData name="Nick Garvin" userId="7d53f32c-f093-4e10-bba7-f989ea1fbf1d" providerId="ADAL" clId="{FD3CABF8-DF65-412F-A148-1057C8995332}" dt="2024-01-31T00:04:51.093" v="7384" actId="14100"/>
          <ac:spMkLst>
            <pc:docMk/>
            <pc:sldMk cId="1783209757" sldId="2147140454"/>
            <ac:spMk id="7" creationId="{4456A92C-E5F7-50ED-1C9D-F58385B98350}"/>
          </ac:spMkLst>
        </pc:spChg>
        <pc:spChg chg="add mod">
          <ac:chgData name="Nick Garvin" userId="7d53f32c-f093-4e10-bba7-f989ea1fbf1d" providerId="ADAL" clId="{FD3CABF8-DF65-412F-A148-1057C8995332}" dt="2024-01-30T22:29:27.403" v="6718" actId="1035"/>
          <ac:spMkLst>
            <pc:docMk/>
            <pc:sldMk cId="1783209757" sldId="2147140454"/>
            <ac:spMk id="8" creationId="{3C72F0EA-4ECE-9EEB-7DE4-32A340B2EBB2}"/>
          </ac:spMkLst>
        </pc:spChg>
        <pc:spChg chg="add mod">
          <ac:chgData name="Nick Garvin" userId="7d53f32c-f093-4e10-bba7-f989ea1fbf1d" providerId="ADAL" clId="{FD3CABF8-DF65-412F-A148-1057C8995332}" dt="2024-01-30T22:29:52.565" v="6723" actId="1076"/>
          <ac:spMkLst>
            <pc:docMk/>
            <pc:sldMk cId="1783209757" sldId="2147140454"/>
            <ac:spMk id="10" creationId="{A61D6331-7A83-21B3-D6A9-B23A13453DBC}"/>
          </ac:spMkLst>
        </pc:spChg>
        <pc:spChg chg="add mod">
          <ac:chgData name="Nick Garvin" userId="7d53f32c-f093-4e10-bba7-f989ea1fbf1d" providerId="ADAL" clId="{FD3CABF8-DF65-412F-A148-1057C8995332}" dt="2024-01-31T00:08:18.952" v="7442" actId="20577"/>
          <ac:spMkLst>
            <pc:docMk/>
            <pc:sldMk cId="1783209757" sldId="2147140454"/>
            <ac:spMk id="12" creationId="{9AEB411D-398D-A368-984F-299A758B4DB1}"/>
          </ac:spMkLst>
        </pc:spChg>
        <pc:spChg chg="add mod">
          <ac:chgData name="Nick Garvin" userId="7d53f32c-f093-4e10-bba7-f989ea1fbf1d" providerId="ADAL" clId="{FD3CABF8-DF65-412F-A148-1057C8995332}" dt="2024-01-31T00:52:09.126" v="7606" actId="20577"/>
          <ac:spMkLst>
            <pc:docMk/>
            <pc:sldMk cId="1783209757" sldId="2147140454"/>
            <ac:spMk id="13" creationId="{8D194942-0D70-1F7F-0812-049012290C99}"/>
          </ac:spMkLst>
        </pc:spChg>
        <pc:spChg chg="add mod">
          <ac:chgData name="Nick Garvin" userId="7d53f32c-f093-4e10-bba7-f989ea1fbf1d" providerId="ADAL" clId="{FD3CABF8-DF65-412F-A148-1057C8995332}" dt="2024-01-31T02:50:42.931" v="9393" actId="20577"/>
          <ac:spMkLst>
            <pc:docMk/>
            <pc:sldMk cId="1783209757" sldId="2147140454"/>
            <ac:spMk id="14" creationId="{177E8861-97E9-FFDA-A94D-DFDA6BC99F2B}"/>
          </ac:spMkLst>
        </pc:spChg>
        <pc:spChg chg="add mod">
          <ac:chgData name="Nick Garvin" userId="7d53f32c-f093-4e10-bba7-f989ea1fbf1d" providerId="ADAL" clId="{FD3CABF8-DF65-412F-A148-1057C8995332}" dt="2024-01-31T02:50:45.331" v="9396" actId="20577"/>
          <ac:spMkLst>
            <pc:docMk/>
            <pc:sldMk cId="1783209757" sldId="2147140454"/>
            <ac:spMk id="15" creationId="{48B635A8-9704-999B-F9E2-D9B3383E7BDF}"/>
          </ac:spMkLst>
        </pc:spChg>
        <pc:spChg chg="add mod">
          <ac:chgData name="Nick Garvin" userId="7d53f32c-f093-4e10-bba7-f989ea1fbf1d" providerId="ADAL" clId="{FD3CABF8-DF65-412F-A148-1057C8995332}" dt="2024-01-31T02:52:03.353" v="9408" actId="115"/>
          <ac:spMkLst>
            <pc:docMk/>
            <pc:sldMk cId="1783209757" sldId="2147140454"/>
            <ac:spMk id="16" creationId="{32074CF0-1AA9-9E33-0471-FD7CA3BF1888}"/>
          </ac:spMkLst>
        </pc:spChg>
        <pc:spChg chg="add del mod ord">
          <ac:chgData name="Nick Garvin" userId="7d53f32c-f093-4e10-bba7-f989ea1fbf1d" providerId="ADAL" clId="{FD3CABF8-DF65-412F-A148-1057C8995332}" dt="2024-01-30T22:58:42.592" v="7332" actId="478"/>
          <ac:spMkLst>
            <pc:docMk/>
            <pc:sldMk cId="1783209757" sldId="2147140454"/>
            <ac:spMk id="17" creationId="{517A8030-43E9-0E4A-316A-0E7747F61699}"/>
          </ac:spMkLst>
        </pc:spChg>
        <pc:spChg chg="add del">
          <ac:chgData name="Nick Garvin" userId="7d53f32c-f093-4e10-bba7-f989ea1fbf1d" providerId="ADAL" clId="{FD3CABF8-DF65-412F-A148-1057C8995332}" dt="2024-01-31T00:48:50.203" v="7479" actId="478"/>
          <ac:spMkLst>
            <pc:docMk/>
            <pc:sldMk cId="1783209757" sldId="2147140454"/>
            <ac:spMk id="18" creationId="{FE6ACE2A-8FBF-3D9C-FC27-ABB8D91CA4D7}"/>
          </ac:spMkLst>
        </pc:spChg>
        <pc:picChg chg="add mod">
          <ac:chgData name="Nick Garvin" userId="7d53f32c-f093-4e10-bba7-f989ea1fbf1d" providerId="ADAL" clId="{FD3CABF8-DF65-412F-A148-1057C8995332}" dt="2024-01-30T22:29:27.403" v="6718" actId="1035"/>
          <ac:picMkLst>
            <pc:docMk/>
            <pc:sldMk cId="1783209757" sldId="2147140454"/>
            <ac:picMk id="9" creationId="{E673329E-FDE8-6C68-B127-8FB35E6A8C9E}"/>
          </ac:picMkLst>
        </pc:picChg>
        <pc:picChg chg="add mod">
          <ac:chgData name="Nick Garvin" userId="7d53f32c-f093-4e10-bba7-f989ea1fbf1d" providerId="ADAL" clId="{FD3CABF8-DF65-412F-A148-1057C8995332}" dt="2024-01-30T22:29:52.565" v="6723" actId="1076"/>
          <ac:picMkLst>
            <pc:docMk/>
            <pc:sldMk cId="1783209757" sldId="2147140454"/>
            <ac:picMk id="11" creationId="{B77797B2-D721-6A70-A73D-DEFE1A2C8BB2}"/>
          </ac:picMkLst>
        </pc:picChg>
        <pc:cxnChg chg="add del mod">
          <ac:chgData name="Nick Garvin" userId="7d53f32c-f093-4e10-bba7-f989ea1fbf1d" providerId="ADAL" clId="{FD3CABF8-DF65-412F-A148-1057C8995332}" dt="2024-01-31T00:49:16.593" v="7485" actId="478"/>
          <ac:cxnSpMkLst>
            <pc:docMk/>
            <pc:sldMk cId="1783209757" sldId="2147140454"/>
            <ac:cxnSpMk id="20" creationId="{BC521661-D33F-D513-7956-9BF2DBA5C94B}"/>
          </ac:cxnSpMkLst>
        </pc:cxnChg>
        <pc:cxnChg chg="add del mod">
          <ac:chgData name="Nick Garvin" userId="7d53f32c-f093-4e10-bba7-f989ea1fbf1d" providerId="ADAL" clId="{FD3CABF8-DF65-412F-A148-1057C8995332}" dt="2024-01-31T00:49:17.417" v="7486" actId="478"/>
          <ac:cxnSpMkLst>
            <pc:docMk/>
            <pc:sldMk cId="1783209757" sldId="2147140454"/>
            <ac:cxnSpMk id="21" creationId="{7967CAD9-116F-89A3-2E14-F719DF186BC5}"/>
          </ac:cxnSpMkLst>
        </pc:cxnChg>
      </pc:sldChg>
      <pc:sldChg chg="modSp add del mod">
        <pc:chgData name="Nick Garvin" userId="7d53f32c-f093-4e10-bba7-f989ea1fbf1d" providerId="ADAL" clId="{FD3CABF8-DF65-412F-A148-1057C8995332}" dt="2024-01-31T01:18:07.140" v="9209" actId="47"/>
        <pc:sldMkLst>
          <pc:docMk/>
          <pc:sldMk cId="4252016232" sldId="2147140455"/>
        </pc:sldMkLst>
        <pc:spChg chg="mod">
          <ac:chgData name="Nick Garvin" userId="7d53f32c-f093-4e10-bba7-f989ea1fbf1d" providerId="ADAL" clId="{FD3CABF8-DF65-412F-A148-1057C8995332}" dt="2024-01-31T00:58:41.899" v="7914" actId="20577"/>
          <ac:spMkLst>
            <pc:docMk/>
            <pc:sldMk cId="4252016232" sldId="2147140455"/>
            <ac:spMk id="3" creationId="{C18CD542-FBFA-A28B-9506-2EA0916F0EEC}"/>
          </ac:spMkLst>
        </pc:spChg>
        <pc:spChg chg="mod">
          <ac:chgData name="Nick Garvin" userId="7d53f32c-f093-4e10-bba7-f989ea1fbf1d" providerId="ADAL" clId="{FD3CABF8-DF65-412F-A148-1057C8995332}" dt="2024-01-30T22:14:08.093" v="5973" actId="20577"/>
          <ac:spMkLst>
            <pc:docMk/>
            <pc:sldMk cId="4252016232" sldId="2147140455"/>
            <ac:spMk id="4" creationId="{3C8AFEDD-BAEF-C31F-CA62-F2EBC6E4E360}"/>
          </ac:spMkLst>
        </pc:spChg>
        <pc:spChg chg="mod">
          <ac:chgData name="Nick Garvin" userId="7d53f32c-f093-4e10-bba7-f989ea1fbf1d" providerId="ADAL" clId="{FD3CABF8-DF65-412F-A148-1057C8995332}" dt="2024-01-31T01:02:09.122" v="8191" actId="20577"/>
          <ac:spMkLst>
            <pc:docMk/>
            <pc:sldMk cId="4252016232" sldId="2147140455"/>
            <ac:spMk id="5" creationId="{A4C50E87-B9F5-EDEC-2449-C38BBB00A56D}"/>
          </ac:spMkLst>
        </pc:spChg>
      </pc:sldChg>
      <pc:sldChg chg="delSp modSp add del mod">
        <pc:chgData name="Nick Garvin" userId="7d53f32c-f093-4e10-bba7-f989ea1fbf1d" providerId="ADAL" clId="{FD3CABF8-DF65-412F-A148-1057C8995332}" dt="2024-01-31T00:54:22.045" v="7615" actId="47"/>
        <pc:sldMkLst>
          <pc:docMk/>
          <pc:sldMk cId="791611213" sldId="2147140456"/>
        </pc:sldMkLst>
        <pc:spChg chg="del">
          <ac:chgData name="Nick Garvin" userId="7d53f32c-f093-4e10-bba7-f989ea1fbf1d" providerId="ADAL" clId="{FD3CABF8-DF65-412F-A148-1057C8995332}" dt="2024-01-30T22:21:13.370" v="6379" actId="478"/>
          <ac:spMkLst>
            <pc:docMk/>
            <pc:sldMk cId="791611213" sldId="2147140456"/>
            <ac:spMk id="8" creationId="{C891DB1D-73F4-D0ED-B739-49B7CA962505}"/>
          </ac:spMkLst>
        </pc:spChg>
        <pc:spChg chg="del">
          <ac:chgData name="Nick Garvin" userId="7d53f32c-f093-4e10-bba7-f989ea1fbf1d" providerId="ADAL" clId="{FD3CABF8-DF65-412F-A148-1057C8995332}" dt="2024-01-30T22:21:13.370" v="6379" actId="478"/>
          <ac:spMkLst>
            <pc:docMk/>
            <pc:sldMk cId="791611213" sldId="2147140456"/>
            <ac:spMk id="13" creationId="{E50395AC-5191-D1C2-45B6-8FA2A6474E7B}"/>
          </ac:spMkLst>
        </pc:spChg>
        <pc:spChg chg="del">
          <ac:chgData name="Nick Garvin" userId="7d53f32c-f093-4e10-bba7-f989ea1fbf1d" providerId="ADAL" clId="{FD3CABF8-DF65-412F-A148-1057C8995332}" dt="2024-01-30T22:21:13.370" v="6379" actId="478"/>
          <ac:spMkLst>
            <pc:docMk/>
            <pc:sldMk cId="791611213" sldId="2147140456"/>
            <ac:spMk id="19" creationId="{CC6EE1FD-AE5E-87FE-343D-CF7174A9F8A9}"/>
          </ac:spMkLst>
        </pc:spChg>
        <pc:spChg chg="del">
          <ac:chgData name="Nick Garvin" userId="7d53f32c-f093-4e10-bba7-f989ea1fbf1d" providerId="ADAL" clId="{FD3CABF8-DF65-412F-A148-1057C8995332}" dt="2024-01-30T22:21:13.370" v="6379" actId="478"/>
          <ac:spMkLst>
            <pc:docMk/>
            <pc:sldMk cId="791611213" sldId="2147140456"/>
            <ac:spMk id="22" creationId="{9E056A03-3441-7417-AB33-546503F263F9}"/>
          </ac:spMkLst>
        </pc:spChg>
        <pc:picChg chg="mod">
          <ac:chgData name="Nick Garvin" userId="7d53f32c-f093-4e10-bba7-f989ea1fbf1d" providerId="ADAL" clId="{FD3CABF8-DF65-412F-A148-1057C8995332}" dt="2024-01-30T22:21:41.915" v="6380" actId="14826"/>
          <ac:picMkLst>
            <pc:docMk/>
            <pc:sldMk cId="791611213" sldId="2147140456"/>
            <ac:picMk id="15" creationId="{F96A8D26-55D3-59FE-921E-4892DF693FAE}"/>
          </ac:picMkLst>
        </pc:picChg>
        <pc:picChg chg="del">
          <ac:chgData name="Nick Garvin" userId="7d53f32c-f093-4e10-bba7-f989ea1fbf1d" providerId="ADAL" clId="{FD3CABF8-DF65-412F-A148-1057C8995332}" dt="2024-01-30T22:21:13.370" v="6379" actId="478"/>
          <ac:picMkLst>
            <pc:docMk/>
            <pc:sldMk cId="791611213" sldId="2147140456"/>
            <ac:picMk id="16" creationId="{550F9400-916D-6ED0-2074-C414BB21DFC1}"/>
          </ac:picMkLst>
        </pc:picChg>
      </pc:sldChg>
      <pc:sldChg chg="addSp delSp modSp new mod modNotesTx">
        <pc:chgData name="Nick Garvin" userId="7d53f32c-f093-4e10-bba7-f989ea1fbf1d" providerId="ADAL" clId="{FD3CABF8-DF65-412F-A148-1057C8995332}" dt="2024-01-31T04:14:11.015" v="9483" actId="1036"/>
        <pc:sldMkLst>
          <pc:docMk/>
          <pc:sldMk cId="3410955320" sldId="2147140456"/>
        </pc:sldMkLst>
        <pc:spChg chg="mod">
          <ac:chgData name="Nick Garvin" userId="7d53f32c-f093-4e10-bba7-f989ea1fbf1d" providerId="ADAL" clId="{FD3CABF8-DF65-412F-A148-1057C8995332}" dt="2024-01-31T04:14:11.015" v="9483" actId="1036"/>
          <ac:spMkLst>
            <pc:docMk/>
            <pc:sldMk cId="3410955320" sldId="2147140456"/>
            <ac:spMk id="3" creationId="{42194A17-5978-BD6D-F5CE-4FF0427BE3D3}"/>
          </ac:spMkLst>
        </pc:spChg>
        <pc:spChg chg="mod">
          <ac:chgData name="Nick Garvin" userId="7d53f32c-f093-4e10-bba7-f989ea1fbf1d" providerId="ADAL" clId="{FD3CABF8-DF65-412F-A148-1057C8995332}" dt="2024-01-31T01:03:41.467" v="8217" actId="20577"/>
          <ac:spMkLst>
            <pc:docMk/>
            <pc:sldMk cId="3410955320" sldId="2147140456"/>
            <ac:spMk id="4" creationId="{F75D1C77-C88B-16FA-D834-2FE08599521A}"/>
          </ac:spMkLst>
        </pc:spChg>
        <pc:spChg chg="add mod">
          <ac:chgData name="Nick Garvin" userId="7d53f32c-f093-4e10-bba7-f989ea1fbf1d" providerId="ADAL" clId="{FD3CABF8-DF65-412F-A148-1057C8995332}" dt="2024-01-31T01:17:44.176" v="9203" actId="1035"/>
          <ac:spMkLst>
            <pc:docMk/>
            <pc:sldMk cId="3410955320" sldId="2147140456"/>
            <ac:spMk id="5" creationId="{1D60A82F-59F9-3445-531F-BEB7C19B025C}"/>
          </ac:spMkLst>
        </pc:spChg>
        <pc:spChg chg="add mod">
          <ac:chgData name="Nick Garvin" userId="7d53f32c-f093-4e10-bba7-f989ea1fbf1d" providerId="ADAL" clId="{FD3CABF8-DF65-412F-A148-1057C8995332}" dt="2024-01-31T01:17:44.176" v="9203" actId="1035"/>
          <ac:spMkLst>
            <pc:docMk/>
            <pc:sldMk cId="3410955320" sldId="2147140456"/>
            <ac:spMk id="10" creationId="{EDC1D088-A5C5-648E-CFB4-CD251E360A21}"/>
          </ac:spMkLst>
        </pc:spChg>
        <pc:spChg chg="add mod">
          <ac:chgData name="Nick Garvin" userId="7d53f32c-f093-4e10-bba7-f989ea1fbf1d" providerId="ADAL" clId="{FD3CABF8-DF65-412F-A148-1057C8995332}" dt="2024-01-31T02:41:33.629" v="9274" actId="20577"/>
          <ac:spMkLst>
            <pc:docMk/>
            <pc:sldMk cId="3410955320" sldId="2147140456"/>
            <ac:spMk id="11" creationId="{5A4DA824-DEE8-BAFB-A1CE-D6010132C8F2}"/>
          </ac:spMkLst>
        </pc:spChg>
        <pc:spChg chg="add mod">
          <ac:chgData name="Nick Garvin" userId="7d53f32c-f093-4e10-bba7-f989ea1fbf1d" providerId="ADAL" clId="{FD3CABF8-DF65-412F-A148-1057C8995332}" dt="2024-01-31T04:09:36.645" v="9470" actId="20577"/>
          <ac:spMkLst>
            <pc:docMk/>
            <pc:sldMk cId="3410955320" sldId="2147140456"/>
            <ac:spMk id="12" creationId="{834C74F1-4994-A3F6-6BAD-9F879D3C3CAC}"/>
          </ac:spMkLst>
        </pc:spChg>
        <pc:spChg chg="add mod">
          <ac:chgData name="Nick Garvin" userId="7d53f32c-f093-4e10-bba7-f989ea1fbf1d" providerId="ADAL" clId="{FD3CABF8-DF65-412F-A148-1057C8995332}" dt="2024-01-31T01:17:44.176" v="9203" actId="1035"/>
          <ac:spMkLst>
            <pc:docMk/>
            <pc:sldMk cId="3410955320" sldId="2147140456"/>
            <ac:spMk id="16" creationId="{A692F885-6D76-A6F2-BD16-FD1AEC39EE14}"/>
          </ac:spMkLst>
        </pc:spChg>
        <pc:spChg chg="add mod">
          <ac:chgData name="Nick Garvin" userId="7d53f32c-f093-4e10-bba7-f989ea1fbf1d" providerId="ADAL" clId="{FD3CABF8-DF65-412F-A148-1057C8995332}" dt="2024-01-31T01:17:44.176" v="9203" actId="1035"/>
          <ac:spMkLst>
            <pc:docMk/>
            <pc:sldMk cId="3410955320" sldId="2147140456"/>
            <ac:spMk id="17" creationId="{311637E3-5714-51C1-5D54-E56130E9B67E}"/>
          </ac:spMkLst>
        </pc:spChg>
        <pc:spChg chg="add del mod">
          <ac:chgData name="Nick Garvin" userId="7d53f32c-f093-4e10-bba7-f989ea1fbf1d" providerId="ADAL" clId="{FD3CABF8-DF65-412F-A148-1057C8995332}" dt="2024-01-31T01:17:30.722" v="9188" actId="478"/>
          <ac:spMkLst>
            <pc:docMk/>
            <pc:sldMk cId="3410955320" sldId="2147140456"/>
            <ac:spMk id="18" creationId="{2B1C0931-64EA-2115-D89B-790242CF8AC9}"/>
          </ac:spMkLst>
        </pc:spChg>
        <pc:spChg chg="add del mod">
          <ac:chgData name="Nick Garvin" userId="7d53f32c-f093-4e10-bba7-f989ea1fbf1d" providerId="ADAL" clId="{FD3CABF8-DF65-412F-A148-1057C8995332}" dt="2024-01-31T01:17:32.272" v="9189" actId="478"/>
          <ac:spMkLst>
            <pc:docMk/>
            <pc:sldMk cId="3410955320" sldId="2147140456"/>
            <ac:spMk id="19" creationId="{5C821CAB-B818-482C-C960-5981186BA104}"/>
          </ac:spMkLst>
        </pc:spChg>
        <pc:picChg chg="add mod">
          <ac:chgData name="Nick Garvin" userId="7d53f32c-f093-4e10-bba7-f989ea1fbf1d" providerId="ADAL" clId="{FD3CABF8-DF65-412F-A148-1057C8995332}" dt="2024-01-31T01:17:44.176" v="9203" actId="1035"/>
          <ac:picMkLst>
            <pc:docMk/>
            <pc:sldMk cId="3410955320" sldId="2147140456"/>
            <ac:picMk id="8" creationId="{248D820F-48E0-7F00-AF77-30BF6FF6F64B}"/>
          </ac:picMkLst>
        </pc:picChg>
        <pc:picChg chg="add mod">
          <ac:chgData name="Nick Garvin" userId="7d53f32c-f093-4e10-bba7-f989ea1fbf1d" providerId="ADAL" clId="{FD3CABF8-DF65-412F-A148-1057C8995332}" dt="2024-01-31T01:17:44.176" v="9203" actId="1035"/>
          <ac:picMkLst>
            <pc:docMk/>
            <pc:sldMk cId="3410955320" sldId="2147140456"/>
            <ac:picMk id="9" creationId="{6727F06B-07B2-E249-67F1-8D6BD6A0DEC5}"/>
          </ac:picMkLst>
        </pc:picChg>
        <pc:picChg chg="add mod">
          <ac:chgData name="Nick Garvin" userId="7d53f32c-f093-4e10-bba7-f989ea1fbf1d" providerId="ADAL" clId="{FD3CABF8-DF65-412F-A148-1057C8995332}" dt="2024-01-31T01:17:44.176" v="9203" actId="1035"/>
          <ac:picMkLst>
            <pc:docMk/>
            <pc:sldMk cId="3410955320" sldId="2147140456"/>
            <ac:picMk id="20" creationId="{B19BB1BF-0BD6-10C6-CA53-C9B07A979F9C}"/>
          </ac:picMkLst>
        </pc:picChg>
        <pc:picChg chg="add mod">
          <ac:chgData name="Nick Garvin" userId="7d53f32c-f093-4e10-bba7-f989ea1fbf1d" providerId="ADAL" clId="{FD3CABF8-DF65-412F-A148-1057C8995332}" dt="2024-01-31T01:17:44.176" v="9203" actId="1035"/>
          <ac:picMkLst>
            <pc:docMk/>
            <pc:sldMk cId="3410955320" sldId="2147140456"/>
            <ac:picMk id="21" creationId="{3AC28F99-853E-3155-7383-A9D4345D02A7}"/>
          </ac:picMkLst>
        </pc:picChg>
        <pc:picChg chg="add mod">
          <ac:chgData name="Nick Garvin" userId="7d53f32c-f093-4e10-bba7-f989ea1fbf1d" providerId="ADAL" clId="{FD3CABF8-DF65-412F-A148-1057C8995332}" dt="2024-01-31T01:17:44.176" v="9203" actId="1035"/>
          <ac:picMkLst>
            <pc:docMk/>
            <pc:sldMk cId="3410955320" sldId="2147140456"/>
            <ac:picMk id="22" creationId="{BC2E7D5E-5954-59C0-A163-D69D5365B29A}"/>
          </ac:picMkLst>
        </pc:picChg>
        <pc:cxnChg chg="add del mod">
          <ac:chgData name="Nick Garvin" userId="7d53f32c-f093-4e10-bba7-f989ea1fbf1d" providerId="ADAL" clId="{FD3CABF8-DF65-412F-A148-1057C8995332}" dt="2024-01-31T01:17:37.505" v="9190" actId="478"/>
          <ac:cxnSpMkLst>
            <pc:docMk/>
            <pc:sldMk cId="3410955320" sldId="2147140456"/>
            <ac:cxnSpMk id="6" creationId="{E84EBA25-0EDA-4213-1FEB-4DBF21B16F17}"/>
          </ac:cxnSpMkLst>
        </pc:cxnChg>
        <pc:cxnChg chg="add del mod">
          <ac:chgData name="Nick Garvin" userId="7d53f32c-f093-4e10-bba7-f989ea1fbf1d" providerId="ADAL" clId="{FD3CABF8-DF65-412F-A148-1057C8995332}" dt="2024-01-31T01:17:38.232" v="9191" actId="478"/>
          <ac:cxnSpMkLst>
            <pc:docMk/>
            <pc:sldMk cId="3410955320" sldId="2147140456"/>
            <ac:cxnSpMk id="7" creationId="{6F555282-1B3D-AAFE-C7AD-C460453699D7}"/>
          </ac:cxnSpMkLst>
        </pc:cxnChg>
        <pc:cxnChg chg="add mod">
          <ac:chgData name="Nick Garvin" userId="7d53f32c-f093-4e10-bba7-f989ea1fbf1d" providerId="ADAL" clId="{FD3CABF8-DF65-412F-A148-1057C8995332}" dt="2024-01-31T01:17:44.176" v="9203" actId="1035"/>
          <ac:cxnSpMkLst>
            <pc:docMk/>
            <pc:sldMk cId="3410955320" sldId="2147140456"/>
            <ac:cxnSpMk id="13" creationId="{B99A88C2-33EC-E7BC-BA47-1386F2DA9050}"/>
          </ac:cxnSpMkLst>
        </pc:cxnChg>
        <pc:cxnChg chg="add mod">
          <ac:chgData name="Nick Garvin" userId="7d53f32c-f093-4e10-bba7-f989ea1fbf1d" providerId="ADAL" clId="{FD3CABF8-DF65-412F-A148-1057C8995332}" dt="2024-01-31T01:17:44.176" v="9203" actId="1035"/>
          <ac:cxnSpMkLst>
            <pc:docMk/>
            <pc:sldMk cId="3410955320" sldId="2147140456"/>
            <ac:cxnSpMk id="14" creationId="{24E41908-21E2-C39F-3D16-B02C88481527}"/>
          </ac:cxnSpMkLst>
        </pc:cxnChg>
        <pc:cxnChg chg="add mod">
          <ac:chgData name="Nick Garvin" userId="7d53f32c-f093-4e10-bba7-f989ea1fbf1d" providerId="ADAL" clId="{FD3CABF8-DF65-412F-A148-1057C8995332}" dt="2024-01-31T01:17:44.176" v="9203" actId="1035"/>
          <ac:cxnSpMkLst>
            <pc:docMk/>
            <pc:sldMk cId="3410955320" sldId="2147140456"/>
            <ac:cxnSpMk id="15" creationId="{9C0FBFE6-CBE0-004E-EF97-30927DF5DA02}"/>
          </ac:cxnSpMkLst>
        </pc:cxnChg>
      </pc:sldChg>
      <pc:sldMasterChg chg="delSldLayout">
        <pc:chgData name="Nick Garvin" userId="7d53f32c-f093-4e10-bba7-f989ea1fbf1d" providerId="ADAL" clId="{FD3CABF8-DF65-412F-A148-1057C8995332}" dt="2024-01-30T05:16:24.621" v="1238" actId="47"/>
        <pc:sldMasterMkLst>
          <pc:docMk/>
          <pc:sldMasterMk cId="417098438" sldId="2147483660"/>
        </pc:sldMasterMkLst>
        <pc:sldLayoutChg chg="del">
          <pc:chgData name="Nick Garvin" userId="7d53f32c-f093-4e10-bba7-f989ea1fbf1d" providerId="ADAL" clId="{FD3CABF8-DF65-412F-A148-1057C8995332}" dt="2024-01-30T05:16:24.621" v="1238" actId="47"/>
          <pc:sldLayoutMkLst>
            <pc:docMk/>
            <pc:sldMasterMk cId="417098438" sldId="2147483660"/>
            <pc:sldLayoutMk cId="856968575" sldId="2147483741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5D865F0-9ED1-44AD-A57C-3A53C056D34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DAE6F63F-4EFA-4A5A-9FAD-ABC4F03AD98E}">
      <dgm:prSet phldrT="[Text]" custT="1"/>
      <dgm:spPr/>
      <dgm:t>
        <a:bodyPr/>
        <a:lstStyle/>
        <a:p>
          <a:r>
            <a:rPr lang="en-AU" sz="2000" dirty="0"/>
            <a:t>Academic rigour</a:t>
          </a:r>
        </a:p>
      </dgm:t>
    </dgm:pt>
    <dgm:pt modelId="{956E6918-0FB3-4D86-9035-6C79F7878C27}" type="parTrans" cxnId="{F9B3FB0C-66FA-4924-9CFF-996F40CB1F1A}">
      <dgm:prSet/>
      <dgm:spPr/>
      <dgm:t>
        <a:bodyPr/>
        <a:lstStyle/>
        <a:p>
          <a:endParaRPr lang="en-AU"/>
        </a:p>
      </dgm:t>
    </dgm:pt>
    <dgm:pt modelId="{14D987AF-7AE9-4B13-8AC3-1D0E3594A584}" type="sibTrans" cxnId="{F9B3FB0C-66FA-4924-9CFF-996F40CB1F1A}">
      <dgm:prSet/>
      <dgm:spPr/>
      <dgm:t>
        <a:bodyPr/>
        <a:lstStyle/>
        <a:p>
          <a:endParaRPr lang="en-AU"/>
        </a:p>
      </dgm:t>
    </dgm:pt>
    <dgm:pt modelId="{9E3BDF9A-FC7C-4413-AA99-0AF002DA7354}">
      <dgm:prSet phldrT="[Text]" custT="1"/>
      <dgm:spPr/>
      <dgm:t>
        <a:bodyPr/>
        <a:lstStyle/>
        <a:p>
          <a:r>
            <a:rPr lang="en-AU" sz="2000" dirty="0"/>
            <a:t>World class microdata</a:t>
          </a:r>
        </a:p>
      </dgm:t>
    </dgm:pt>
    <dgm:pt modelId="{8E335EC4-9C3B-4EAB-9726-F72C948E0DF8}" type="parTrans" cxnId="{895AFEDF-E066-4395-A697-AD61D5C517F6}">
      <dgm:prSet/>
      <dgm:spPr/>
      <dgm:t>
        <a:bodyPr/>
        <a:lstStyle/>
        <a:p>
          <a:endParaRPr lang="en-AU"/>
        </a:p>
      </dgm:t>
    </dgm:pt>
    <dgm:pt modelId="{3C7C206F-D7AC-4A64-AD6F-5414685653B3}" type="sibTrans" cxnId="{895AFEDF-E066-4395-A697-AD61D5C517F6}">
      <dgm:prSet/>
      <dgm:spPr/>
      <dgm:t>
        <a:bodyPr/>
        <a:lstStyle/>
        <a:p>
          <a:endParaRPr lang="en-AU"/>
        </a:p>
      </dgm:t>
    </dgm:pt>
    <dgm:pt modelId="{30975EFA-D1BD-4CAD-A00C-5116403752A0}">
      <dgm:prSet phldrT="[Text]" custT="1"/>
      <dgm:spPr/>
      <dgm:t>
        <a:bodyPr/>
        <a:lstStyle/>
        <a:p>
          <a:r>
            <a:rPr lang="en-AU" sz="2000" dirty="0"/>
            <a:t>State of the art techniques</a:t>
          </a:r>
        </a:p>
      </dgm:t>
    </dgm:pt>
    <dgm:pt modelId="{B0D97EAC-08FE-49D1-8760-9A3B4F3AED3D}" type="parTrans" cxnId="{7833D796-81C3-494E-9C29-8F35AE28433C}">
      <dgm:prSet/>
      <dgm:spPr/>
      <dgm:t>
        <a:bodyPr/>
        <a:lstStyle/>
        <a:p>
          <a:endParaRPr lang="en-AU"/>
        </a:p>
      </dgm:t>
    </dgm:pt>
    <dgm:pt modelId="{FEF32F79-DC31-4BB8-86B5-73A806B05C54}" type="sibTrans" cxnId="{7833D796-81C3-494E-9C29-8F35AE28433C}">
      <dgm:prSet/>
      <dgm:spPr/>
      <dgm:t>
        <a:bodyPr/>
        <a:lstStyle/>
        <a:p>
          <a:endParaRPr lang="en-AU"/>
        </a:p>
      </dgm:t>
    </dgm:pt>
    <dgm:pt modelId="{466A5B57-074E-44D4-B5EE-F5D8BB7BA77A}">
      <dgm:prSet phldrT="[Text]" custT="1"/>
      <dgm:spPr/>
      <dgm:t>
        <a:bodyPr/>
        <a:lstStyle/>
        <a:p>
          <a:r>
            <a:rPr lang="en-AU" sz="2000" dirty="0"/>
            <a:t>Policy engagement</a:t>
          </a:r>
        </a:p>
      </dgm:t>
    </dgm:pt>
    <dgm:pt modelId="{A560B7D5-B610-4640-8E20-4CC7C42A0581}" type="parTrans" cxnId="{FB271427-0328-419A-905A-B425ED51880E}">
      <dgm:prSet/>
      <dgm:spPr/>
      <dgm:t>
        <a:bodyPr/>
        <a:lstStyle/>
        <a:p>
          <a:endParaRPr lang="en-AU"/>
        </a:p>
      </dgm:t>
    </dgm:pt>
    <dgm:pt modelId="{0BE42CCA-FECD-4B38-B879-FB651F8F2807}" type="sibTrans" cxnId="{FB271427-0328-419A-905A-B425ED51880E}">
      <dgm:prSet/>
      <dgm:spPr/>
      <dgm:t>
        <a:bodyPr/>
        <a:lstStyle/>
        <a:p>
          <a:endParaRPr lang="en-AU"/>
        </a:p>
      </dgm:t>
    </dgm:pt>
    <dgm:pt modelId="{DF47F287-5CE7-4548-992F-BBEAAC387D88}" type="pres">
      <dgm:prSet presAssocID="{B5D865F0-9ED1-44AD-A57C-3A53C056D34B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n-AU"/>
        </a:p>
      </dgm:t>
    </dgm:pt>
    <dgm:pt modelId="{3F49E675-D08C-4D0E-A419-5E54EAFCE3D3}" type="pres">
      <dgm:prSet presAssocID="{DAE6F63F-4EFA-4A5A-9FAD-ABC4F03AD98E}" presName="horFlow" presStyleCnt="0"/>
      <dgm:spPr/>
    </dgm:pt>
    <dgm:pt modelId="{DD7D454C-324A-438C-9E50-A63F3A4CC0E4}" type="pres">
      <dgm:prSet presAssocID="{DAE6F63F-4EFA-4A5A-9FAD-ABC4F03AD98E}" presName="bigChev" presStyleLbl="node1" presStyleIdx="0" presStyleCnt="4" custScaleX="221752" custScaleY="120404"/>
      <dgm:spPr/>
      <dgm:t>
        <a:bodyPr/>
        <a:lstStyle/>
        <a:p>
          <a:endParaRPr lang="en-AU"/>
        </a:p>
      </dgm:t>
    </dgm:pt>
    <dgm:pt modelId="{75F9BBBE-C88C-47C5-85B6-8FB67435DF17}" type="pres">
      <dgm:prSet presAssocID="{DAE6F63F-4EFA-4A5A-9FAD-ABC4F03AD98E}" presName="vSp" presStyleCnt="0"/>
      <dgm:spPr/>
    </dgm:pt>
    <dgm:pt modelId="{2962224E-6964-48E4-A827-28DF81E988BF}" type="pres">
      <dgm:prSet presAssocID="{9E3BDF9A-FC7C-4413-AA99-0AF002DA7354}" presName="horFlow" presStyleCnt="0"/>
      <dgm:spPr/>
    </dgm:pt>
    <dgm:pt modelId="{4B78B843-F3CF-4EF6-BB65-CF09A0A514FE}" type="pres">
      <dgm:prSet presAssocID="{9E3BDF9A-FC7C-4413-AA99-0AF002DA7354}" presName="bigChev" presStyleLbl="node1" presStyleIdx="1" presStyleCnt="4" custScaleX="221752" custScaleY="120404"/>
      <dgm:spPr/>
      <dgm:t>
        <a:bodyPr/>
        <a:lstStyle/>
        <a:p>
          <a:endParaRPr lang="en-AU"/>
        </a:p>
      </dgm:t>
    </dgm:pt>
    <dgm:pt modelId="{EC41FA4F-5E60-4CDC-87FA-236EDD883B0B}" type="pres">
      <dgm:prSet presAssocID="{9E3BDF9A-FC7C-4413-AA99-0AF002DA7354}" presName="vSp" presStyleCnt="0"/>
      <dgm:spPr/>
    </dgm:pt>
    <dgm:pt modelId="{8B870A5F-8D19-48EC-8675-597DB00BF373}" type="pres">
      <dgm:prSet presAssocID="{30975EFA-D1BD-4CAD-A00C-5116403752A0}" presName="horFlow" presStyleCnt="0"/>
      <dgm:spPr/>
    </dgm:pt>
    <dgm:pt modelId="{AE189C68-498A-44DD-BA7F-4F93383DC5BF}" type="pres">
      <dgm:prSet presAssocID="{30975EFA-D1BD-4CAD-A00C-5116403752A0}" presName="bigChev" presStyleLbl="node1" presStyleIdx="2" presStyleCnt="4" custScaleX="221752" custScaleY="120404"/>
      <dgm:spPr/>
      <dgm:t>
        <a:bodyPr/>
        <a:lstStyle/>
        <a:p>
          <a:endParaRPr lang="en-AU"/>
        </a:p>
      </dgm:t>
    </dgm:pt>
    <dgm:pt modelId="{6408F8CC-D02E-49C9-BFD5-E5F91AF9B68E}" type="pres">
      <dgm:prSet presAssocID="{30975EFA-D1BD-4CAD-A00C-5116403752A0}" presName="vSp" presStyleCnt="0"/>
      <dgm:spPr/>
    </dgm:pt>
    <dgm:pt modelId="{CE8A2565-3473-4048-B17E-3D2FF9AEDEB9}" type="pres">
      <dgm:prSet presAssocID="{466A5B57-074E-44D4-B5EE-F5D8BB7BA77A}" presName="horFlow" presStyleCnt="0"/>
      <dgm:spPr/>
    </dgm:pt>
    <dgm:pt modelId="{48DEC6B3-8E01-4308-ADF0-46B95E34325E}" type="pres">
      <dgm:prSet presAssocID="{466A5B57-074E-44D4-B5EE-F5D8BB7BA77A}" presName="bigChev" presStyleLbl="node1" presStyleIdx="3" presStyleCnt="4" custScaleX="221752" custScaleY="120404"/>
      <dgm:spPr/>
      <dgm:t>
        <a:bodyPr/>
        <a:lstStyle/>
        <a:p>
          <a:endParaRPr lang="en-AU"/>
        </a:p>
      </dgm:t>
    </dgm:pt>
  </dgm:ptLst>
  <dgm:cxnLst>
    <dgm:cxn modelId="{3CD9A63F-BDBB-4403-A35C-F738B039A10A}" type="presOf" srcId="{DAE6F63F-4EFA-4A5A-9FAD-ABC4F03AD98E}" destId="{DD7D454C-324A-438C-9E50-A63F3A4CC0E4}" srcOrd="0" destOrd="0" presId="urn:microsoft.com/office/officeart/2005/8/layout/lProcess3"/>
    <dgm:cxn modelId="{13D0C944-353E-4DA0-8DF2-4252D02A0A28}" type="presOf" srcId="{466A5B57-074E-44D4-B5EE-F5D8BB7BA77A}" destId="{48DEC6B3-8E01-4308-ADF0-46B95E34325E}" srcOrd="0" destOrd="0" presId="urn:microsoft.com/office/officeart/2005/8/layout/lProcess3"/>
    <dgm:cxn modelId="{F9B3FB0C-66FA-4924-9CFF-996F40CB1F1A}" srcId="{B5D865F0-9ED1-44AD-A57C-3A53C056D34B}" destId="{DAE6F63F-4EFA-4A5A-9FAD-ABC4F03AD98E}" srcOrd="0" destOrd="0" parTransId="{956E6918-0FB3-4D86-9035-6C79F7878C27}" sibTransId="{14D987AF-7AE9-4B13-8AC3-1D0E3594A584}"/>
    <dgm:cxn modelId="{384AA732-9DDC-4DF6-8FA4-337A5AD9C25E}" type="presOf" srcId="{B5D865F0-9ED1-44AD-A57C-3A53C056D34B}" destId="{DF47F287-5CE7-4548-992F-BBEAAC387D88}" srcOrd="0" destOrd="0" presId="urn:microsoft.com/office/officeart/2005/8/layout/lProcess3"/>
    <dgm:cxn modelId="{FB271427-0328-419A-905A-B425ED51880E}" srcId="{B5D865F0-9ED1-44AD-A57C-3A53C056D34B}" destId="{466A5B57-074E-44D4-B5EE-F5D8BB7BA77A}" srcOrd="3" destOrd="0" parTransId="{A560B7D5-B610-4640-8E20-4CC7C42A0581}" sibTransId="{0BE42CCA-FECD-4B38-B879-FB651F8F2807}"/>
    <dgm:cxn modelId="{6C7AF110-A201-4549-91A7-FF681F567EED}" type="presOf" srcId="{30975EFA-D1BD-4CAD-A00C-5116403752A0}" destId="{AE189C68-498A-44DD-BA7F-4F93383DC5BF}" srcOrd="0" destOrd="0" presId="urn:microsoft.com/office/officeart/2005/8/layout/lProcess3"/>
    <dgm:cxn modelId="{7833D796-81C3-494E-9C29-8F35AE28433C}" srcId="{B5D865F0-9ED1-44AD-A57C-3A53C056D34B}" destId="{30975EFA-D1BD-4CAD-A00C-5116403752A0}" srcOrd="2" destOrd="0" parTransId="{B0D97EAC-08FE-49D1-8760-9A3B4F3AED3D}" sibTransId="{FEF32F79-DC31-4BB8-86B5-73A806B05C54}"/>
    <dgm:cxn modelId="{FBD3439F-0A80-4A01-894C-39785CA2BF23}" type="presOf" srcId="{9E3BDF9A-FC7C-4413-AA99-0AF002DA7354}" destId="{4B78B843-F3CF-4EF6-BB65-CF09A0A514FE}" srcOrd="0" destOrd="0" presId="urn:microsoft.com/office/officeart/2005/8/layout/lProcess3"/>
    <dgm:cxn modelId="{895AFEDF-E066-4395-A697-AD61D5C517F6}" srcId="{B5D865F0-9ED1-44AD-A57C-3A53C056D34B}" destId="{9E3BDF9A-FC7C-4413-AA99-0AF002DA7354}" srcOrd="1" destOrd="0" parTransId="{8E335EC4-9C3B-4EAB-9726-F72C948E0DF8}" sibTransId="{3C7C206F-D7AC-4A64-AD6F-5414685653B3}"/>
    <dgm:cxn modelId="{74C2A044-60D7-4355-BDAF-A912B00ADF04}" type="presParOf" srcId="{DF47F287-5CE7-4548-992F-BBEAAC387D88}" destId="{3F49E675-D08C-4D0E-A419-5E54EAFCE3D3}" srcOrd="0" destOrd="0" presId="urn:microsoft.com/office/officeart/2005/8/layout/lProcess3"/>
    <dgm:cxn modelId="{D93E4A33-6B09-4514-BF8F-619E77E14EEA}" type="presParOf" srcId="{3F49E675-D08C-4D0E-A419-5E54EAFCE3D3}" destId="{DD7D454C-324A-438C-9E50-A63F3A4CC0E4}" srcOrd="0" destOrd="0" presId="urn:microsoft.com/office/officeart/2005/8/layout/lProcess3"/>
    <dgm:cxn modelId="{A020F2B4-9C02-40C3-BCA2-48F1B79ED922}" type="presParOf" srcId="{DF47F287-5CE7-4548-992F-BBEAAC387D88}" destId="{75F9BBBE-C88C-47C5-85B6-8FB67435DF17}" srcOrd="1" destOrd="0" presId="urn:microsoft.com/office/officeart/2005/8/layout/lProcess3"/>
    <dgm:cxn modelId="{C0659738-506D-4096-ABE2-C1F78EB92729}" type="presParOf" srcId="{DF47F287-5CE7-4548-992F-BBEAAC387D88}" destId="{2962224E-6964-48E4-A827-28DF81E988BF}" srcOrd="2" destOrd="0" presId="urn:microsoft.com/office/officeart/2005/8/layout/lProcess3"/>
    <dgm:cxn modelId="{DB083AD1-84DC-4B16-A590-165DAEB9137F}" type="presParOf" srcId="{2962224E-6964-48E4-A827-28DF81E988BF}" destId="{4B78B843-F3CF-4EF6-BB65-CF09A0A514FE}" srcOrd="0" destOrd="0" presId="urn:microsoft.com/office/officeart/2005/8/layout/lProcess3"/>
    <dgm:cxn modelId="{ACBB2C45-7115-48A0-AD5D-753FB74D6D89}" type="presParOf" srcId="{DF47F287-5CE7-4548-992F-BBEAAC387D88}" destId="{EC41FA4F-5E60-4CDC-87FA-236EDD883B0B}" srcOrd="3" destOrd="0" presId="urn:microsoft.com/office/officeart/2005/8/layout/lProcess3"/>
    <dgm:cxn modelId="{800CABB8-FFB9-4D4E-B5D5-A2EA9DEF90BA}" type="presParOf" srcId="{DF47F287-5CE7-4548-992F-BBEAAC387D88}" destId="{8B870A5F-8D19-48EC-8675-597DB00BF373}" srcOrd="4" destOrd="0" presId="urn:microsoft.com/office/officeart/2005/8/layout/lProcess3"/>
    <dgm:cxn modelId="{C6CD99C5-3564-4E72-9160-D22675785F8A}" type="presParOf" srcId="{8B870A5F-8D19-48EC-8675-597DB00BF373}" destId="{AE189C68-498A-44DD-BA7F-4F93383DC5BF}" srcOrd="0" destOrd="0" presId="urn:microsoft.com/office/officeart/2005/8/layout/lProcess3"/>
    <dgm:cxn modelId="{D6097738-A51E-4D30-A623-F8A27187854B}" type="presParOf" srcId="{DF47F287-5CE7-4548-992F-BBEAAC387D88}" destId="{6408F8CC-D02E-49C9-BFD5-E5F91AF9B68E}" srcOrd="5" destOrd="0" presId="urn:microsoft.com/office/officeart/2005/8/layout/lProcess3"/>
    <dgm:cxn modelId="{BEEC23F9-33F2-4940-8576-514E64D90A8C}" type="presParOf" srcId="{DF47F287-5CE7-4548-992F-BBEAAC387D88}" destId="{CE8A2565-3473-4048-B17E-3D2FF9AEDEB9}" srcOrd="6" destOrd="0" presId="urn:microsoft.com/office/officeart/2005/8/layout/lProcess3"/>
    <dgm:cxn modelId="{B9900FC1-15C3-4279-85EC-38F2E48C7727}" type="presParOf" srcId="{CE8A2565-3473-4048-B17E-3D2FF9AEDEB9}" destId="{48DEC6B3-8E01-4308-ADF0-46B95E34325E}" srcOrd="0" destOrd="0" presId="urn:microsoft.com/office/officeart/2005/8/layout/lProcess3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7D454C-324A-438C-9E50-A63F3A4CC0E4}">
      <dsp:nvSpPr>
        <dsp:cNvPr id="0" name=""/>
        <dsp:cNvSpPr/>
      </dsp:nvSpPr>
      <dsp:spPr>
        <a:xfrm>
          <a:off x="90109" y="745"/>
          <a:ext cx="3555497" cy="77220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2000" kern="1200" dirty="0"/>
            <a:t>Academic rigour</a:t>
          </a:r>
        </a:p>
      </dsp:txBody>
      <dsp:txXfrm>
        <a:off x="476213" y="745"/>
        <a:ext cx="2783290" cy="772207"/>
      </dsp:txXfrm>
    </dsp:sp>
    <dsp:sp modelId="{4B78B843-F3CF-4EF6-BB65-CF09A0A514FE}">
      <dsp:nvSpPr>
        <dsp:cNvPr id="0" name=""/>
        <dsp:cNvSpPr/>
      </dsp:nvSpPr>
      <dsp:spPr>
        <a:xfrm>
          <a:off x="90109" y="862741"/>
          <a:ext cx="3555497" cy="77220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2000" kern="1200" dirty="0"/>
            <a:t>World class microdata</a:t>
          </a:r>
        </a:p>
      </dsp:txBody>
      <dsp:txXfrm>
        <a:off x="476213" y="862741"/>
        <a:ext cx="2783290" cy="772207"/>
      </dsp:txXfrm>
    </dsp:sp>
    <dsp:sp modelId="{AE189C68-498A-44DD-BA7F-4F93383DC5BF}">
      <dsp:nvSpPr>
        <dsp:cNvPr id="0" name=""/>
        <dsp:cNvSpPr/>
      </dsp:nvSpPr>
      <dsp:spPr>
        <a:xfrm>
          <a:off x="90109" y="1724736"/>
          <a:ext cx="3555497" cy="77220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2000" kern="1200" dirty="0"/>
            <a:t>State of the art techniques</a:t>
          </a:r>
        </a:p>
      </dsp:txBody>
      <dsp:txXfrm>
        <a:off x="476213" y="1724736"/>
        <a:ext cx="2783290" cy="772207"/>
      </dsp:txXfrm>
    </dsp:sp>
    <dsp:sp modelId="{48DEC6B3-8E01-4308-ADF0-46B95E34325E}">
      <dsp:nvSpPr>
        <dsp:cNvPr id="0" name=""/>
        <dsp:cNvSpPr/>
      </dsp:nvSpPr>
      <dsp:spPr>
        <a:xfrm>
          <a:off x="90109" y="2586732"/>
          <a:ext cx="3555497" cy="77220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2000" kern="1200" dirty="0"/>
            <a:t>Policy engagement</a:t>
          </a:r>
        </a:p>
      </dsp:txBody>
      <dsp:txXfrm>
        <a:off x="476213" y="2586732"/>
        <a:ext cx="2783290" cy="7722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4C9F452D-FA17-885C-CC89-0DC68658B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C1B9CDAA-6A69-3DFF-BE4E-6602CC25B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F87968-E7C3-4FA2-86D7-7CFDDCA2896A}" type="datetimeFigureOut">
              <a:rPr lang="en-US" smtClean="0"/>
              <a:t>1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60F01E9-DBAA-1EA2-4D9A-7E77B5DFA5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6DBB76F-B80E-EE0E-9F0D-2AC63789573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8A632-F1EE-40DC-8EB4-831F2F70E7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0771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6A7BE-E113-476D-8DE0-A6138461ACE1}" type="datetimeFigureOut">
              <a:rPr lang="en-US" smtClean="0"/>
              <a:t>1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3F2214-1F6F-4D6B-854F-093941A8F6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1104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470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0161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6112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2086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4677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3680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3264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dirty="0"/>
              <a:t/>
            </a:r>
            <a:br>
              <a:rPr lang="en-AU" dirty="0"/>
            </a:b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F2214-1F6F-4D6B-854F-093941A8F69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56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83544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83268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745810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38170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64627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403866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64132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6672434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6664510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18177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299542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1309126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768705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46630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3539767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6672434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3535805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6664510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97536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CB03E8-089D-0ACD-1D05-C59964D50E2F}"/>
              </a:ext>
            </a:extLst>
          </p:cNvPr>
          <p:cNvSpPr/>
          <p:nvPr userDrawn="1"/>
        </p:nvSpPr>
        <p:spPr>
          <a:xfrm>
            <a:off x="0" y="350761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42143CB0-80E3-8AB0-053D-E52E19E92F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-199" y="26127"/>
            <a:ext cx="1980000" cy="29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ctr">
              <a:defRPr lang="en-US" sz="1200" smtClean="0">
                <a:solidFill>
                  <a:schemeClr val="tx1"/>
                </a:solidFill>
                <a:latin typeface="+mj-lt"/>
                <a:ea typeface="+mn-ea"/>
              </a:defRPr>
            </a:lvl1pPr>
            <a:lvl2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2pPr>
            <a:lvl3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3pPr>
            <a:lvl4pPr>
              <a:defRPr lang="en-US" sz="1800" smtClean="0">
                <a:solidFill>
                  <a:schemeClr val="lt1"/>
                </a:solidFill>
                <a:ea typeface="+mn-ea"/>
                <a:cs typeface="+mn-cs"/>
              </a:defRPr>
            </a:lvl4pPr>
            <a:lvl5pPr>
              <a:defRPr lang="en-AU" sz="1800">
                <a:solidFill>
                  <a:schemeClr val="lt1"/>
                </a:solidFill>
                <a:ea typeface="+mn-ea"/>
                <a:cs typeface="+mn-cs"/>
              </a:defRPr>
            </a:lvl5pPr>
          </a:lstStyle>
          <a:p>
            <a:pPr lvl="0" defTabSz="914400" latinLnBrk="0"/>
            <a:r>
              <a:rPr lang="en-US"/>
              <a:t>Section name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7668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26744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="" xmlns:a16="http://schemas.microsoft.com/office/drawing/2014/main" id="{EF090DBB-DBAB-499B-B31E-9C5FEBA1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07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="" xmlns:a16="http://schemas.microsoft.com/office/drawing/2014/main" id="{EF090DBB-DBAB-499B-B31E-9C5FEBA1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2AED96BB-361A-4F3E-A7CB-D1560FDE9F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8CD3CA51-1D19-4ADC-908F-13F64C03CB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207417" y="3925156"/>
            <a:ext cx="4698834" cy="1181862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ctr">
              <a:defRPr sz="3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762FDB2B-16C1-4564-B415-DBBBCF0037B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811" y="1475802"/>
            <a:ext cx="2726046" cy="1953198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="" xmlns:a16="http://schemas.microsoft.com/office/drawing/2014/main" id="{44C01ECE-843C-4618-8C3A-082A62CB3D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7417" y="5334153"/>
            <a:ext cx="469883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6" indent="0">
              <a:buNone/>
              <a:defRPr/>
            </a:lvl2pPr>
            <a:lvl3pPr marL="914411" indent="0">
              <a:buNone/>
              <a:defRPr/>
            </a:lvl3pPr>
            <a:lvl4pPr marL="1371617" indent="0">
              <a:buNone/>
              <a:defRPr/>
            </a:lvl4pPr>
            <a:lvl5pPr marL="1828823" indent="0">
              <a:buNone/>
              <a:defRPr/>
            </a:lvl5pPr>
          </a:lstStyle>
          <a:p>
            <a:pPr lvl="0"/>
            <a:r>
              <a:rPr lang="en-US"/>
              <a:t>Event title – event date</a:t>
            </a:r>
          </a:p>
        </p:txBody>
      </p:sp>
      <p:sp>
        <p:nvSpPr>
          <p:cNvPr id="3" name="Picture Placeholder 7">
            <a:extLst>
              <a:ext uri="{FF2B5EF4-FFF2-40B4-BE49-F238E27FC236}">
                <a16:creationId xmlns="" xmlns:a16="http://schemas.microsoft.com/office/drawing/2014/main" id="{9F417C3A-BBD1-0EAC-6A37-12CE6587C5B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6921666" cy="685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Insert image </a:t>
            </a:r>
          </a:p>
          <a:p>
            <a:r>
              <a:rPr lang="en-US"/>
              <a:t>(try: https://unsplash.com/)</a:t>
            </a:r>
          </a:p>
        </p:txBody>
      </p:sp>
    </p:spTree>
    <p:extLst>
      <p:ext uri="{BB962C8B-B14F-4D97-AF65-F5344CB8AC3E}">
        <p14:creationId xmlns:p14="http://schemas.microsoft.com/office/powerpoint/2010/main" val="2210043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49093" y="381001"/>
            <a:ext cx="7997522" cy="3429000"/>
          </a:xfrm>
        </p:spPr>
        <p:txBody>
          <a:bodyPr anchor="b"/>
          <a:lstStyle>
            <a:lvl1pPr algn="l">
              <a:lnSpc>
                <a:spcPct val="9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in sentence case, max 3 line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9093" y="3970736"/>
            <a:ext cx="6884562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>
                    <a:lumMod val="95000"/>
                  </a:schemeClr>
                </a:solidFill>
                <a:latin typeface="GT Sectra Fine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=""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9093" y="5352585"/>
            <a:ext cx="4114798" cy="530687"/>
          </a:xfrm>
        </p:spPr>
        <p:txBody>
          <a:bodyPr/>
          <a:lstStyle>
            <a:lvl1pPr marL="0" indent="0" algn="l" defTabSz="914411" rtl="0" eaLnBrk="1" latinLnBrk="0" hangingPunct="1">
              <a:spcAft>
                <a:spcPts val="0"/>
              </a:spcAft>
              <a:buNone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11" rtl="0" eaLnBrk="1" latinLnBrk="0" hangingPunct="1">
              <a:spcAft>
                <a:spcPts val="0"/>
              </a:spcAft>
              <a:defRPr lang="en-US" sz="140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Date (DD MMMM YYYY)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="" xmlns:a16="http://schemas.microsoft.com/office/drawing/2014/main" id="{E5A68FC7-26B5-D447-0F4F-4539456AF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521" y="4788067"/>
            <a:ext cx="1965317" cy="1298408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="" xmlns:a16="http://schemas.microsoft.com/office/drawing/2014/main" id="{1F6C5752-FCAA-86D8-96A8-435178EF85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49092" y="5004444"/>
            <a:ext cx="4114800" cy="348141"/>
          </a:xfrm>
          <a:prstGeom prst="rect">
            <a:avLst/>
          </a:prstGeom>
        </p:spPr>
        <p:txBody>
          <a:bodyPr/>
          <a:lstStyle>
            <a:lvl1pPr>
              <a:defRPr lang="en-US" sz="1600" b="0" i="0" kern="1200" spc="0" dirty="0" smtClean="0">
                <a:solidFill>
                  <a:schemeClr val="tx1">
                    <a:lumMod val="95000"/>
                  </a:schemeClr>
                </a:solidFill>
                <a:latin typeface="+mj-lt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s</a:t>
            </a:r>
          </a:p>
        </p:txBody>
      </p:sp>
    </p:spTree>
    <p:extLst>
      <p:ext uri="{BB962C8B-B14F-4D97-AF65-F5344CB8AC3E}">
        <p14:creationId xmlns:p14="http://schemas.microsoft.com/office/powerpoint/2010/main" val="3091483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="" xmlns:p15="http://schemas.microsoft.com/office/powerpoint/2012/main">
        <p15:guide id="1" orient="horz" pos="2400" userDrawn="1">
          <p15:clr>
            <a:srgbClr val="5ACBF0"/>
          </p15:clr>
        </p15:guide>
        <p15:guide id="2" orient="horz" pos="2520" userDrawn="1">
          <p15:clr>
            <a:srgbClr val="5ACBF0"/>
          </p15:clr>
        </p15:guide>
        <p15:guide id="3" pos="720" userDrawn="1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4">
            <a:extLst>
              <a:ext uri="{FF2B5EF4-FFF2-40B4-BE49-F238E27FC236}">
                <a16:creationId xmlns="" xmlns:a16="http://schemas.microsoft.com/office/drawing/2014/main" id="{1DC12A70-EB69-034B-A8B3-5A8F76E5FC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2182000"/>
            <a:ext cx="3267012" cy="286957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bg2"/>
                </a:solidFill>
                <a:latin typeface="GT Sectra Fine" panose="00000500000000000000" pitchFamily="50" charset="0"/>
              </a:defRPr>
            </a:lvl1pPr>
            <a:lvl2pPr marL="0" indent="0">
              <a:buNone/>
              <a:defRPr sz="1801"/>
            </a:lvl2pPr>
            <a:lvl3pPr marL="228604">
              <a:buFont typeface="Arial" panose="020B0604020202020204" pitchFamily="34" charset="0"/>
              <a:buChar char="•"/>
              <a:defRPr sz="1801"/>
            </a:lvl3pPr>
            <a:lvl4pPr marL="457206">
              <a:buFont typeface="System Font"/>
              <a:buChar char="–"/>
              <a:defRPr sz="1600"/>
            </a:lvl4pPr>
            <a:lvl5pPr marL="685809">
              <a:buFont typeface="Arial" panose="020B0604020202020204" pitchFamily="34" charset="0"/>
              <a:buChar char="•"/>
              <a:defRPr sz="1600"/>
            </a:lvl5pPr>
          </a:lstStyle>
          <a:p>
            <a:pPr lvl="0"/>
            <a:r>
              <a:rPr lang="en-US"/>
              <a:t>Place agenda summary here in GT Sectra F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2" y="1371601"/>
            <a:ext cx="3267012" cy="810399"/>
          </a:xfrm>
          <a:prstGeom prst="rect">
            <a:avLst/>
          </a:prstGeom>
        </p:spPr>
        <p:txBody>
          <a:bodyPr/>
          <a:lstStyle/>
          <a:p>
            <a:r>
              <a:rPr lang="en-GB"/>
              <a:t>Agenda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="" xmlns:a16="http://schemas.microsoft.com/office/drawing/2014/main" id="{257C0C72-781A-F24F-B1F2-0A290409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6973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7" name="Text Placeholder 17">
            <a:extLst>
              <a:ext uri="{FF2B5EF4-FFF2-40B4-BE49-F238E27FC236}">
                <a16:creationId xmlns="" xmlns:a16="http://schemas.microsoft.com/office/drawing/2014/main" id="{A5D4C4AC-7870-A641-AF65-6F3ECB9DA9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66973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59" name="Text Placeholder 17">
            <a:extLst>
              <a:ext uri="{FF2B5EF4-FFF2-40B4-BE49-F238E27FC236}">
                <a16:creationId xmlns="" xmlns:a16="http://schemas.microsoft.com/office/drawing/2014/main" id="{9F332AA7-2896-E24E-B21D-90FED54D43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66973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1" name="Text Placeholder 17">
            <a:extLst>
              <a:ext uri="{FF2B5EF4-FFF2-40B4-BE49-F238E27FC236}">
                <a16:creationId xmlns="" xmlns:a16="http://schemas.microsoft.com/office/drawing/2014/main" id="{25D7BCB2-FC6B-2A46-AC11-482A4F7311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66973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3" name="Text Placeholder 17">
            <a:extLst>
              <a:ext uri="{FF2B5EF4-FFF2-40B4-BE49-F238E27FC236}">
                <a16:creationId xmlns="" xmlns:a16="http://schemas.microsoft.com/office/drawing/2014/main" id="{FD74906C-72A4-CF4A-A4F6-B28AE864B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66973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5" name="Text Placeholder 17">
            <a:extLst>
              <a:ext uri="{FF2B5EF4-FFF2-40B4-BE49-F238E27FC236}">
                <a16:creationId xmlns="" xmlns:a16="http://schemas.microsoft.com/office/drawing/2014/main" id="{F28AA3EC-0083-2742-A4D0-0B32569FD7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66973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7" name="Text Placeholder 17">
            <a:extLst>
              <a:ext uri="{FF2B5EF4-FFF2-40B4-BE49-F238E27FC236}">
                <a16:creationId xmlns="" xmlns:a16="http://schemas.microsoft.com/office/drawing/2014/main" id="{D46DA866-B19E-684E-8A23-EEA29548784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66973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69" name="Text Placeholder 17">
            <a:extLst>
              <a:ext uri="{FF2B5EF4-FFF2-40B4-BE49-F238E27FC236}">
                <a16:creationId xmlns="" xmlns:a16="http://schemas.microsoft.com/office/drawing/2014/main" id="{A4A135E2-DF01-5543-BA57-DFBCCC446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66973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29" name="Text Placeholder 17">
            <a:extLst>
              <a:ext uri="{FF2B5EF4-FFF2-40B4-BE49-F238E27FC236}">
                <a16:creationId xmlns="" xmlns:a16="http://schemas.microsoft.com/office/drawing/2014/main" id="{2F4C171E-3D12-FC48-87BB-B5005B4EE3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84358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0" name="Text Placeholder 17">
            <a:extLst>
              <a:ext uri="{FF2B5EF4-FFF2-40B4-BE49-F238E27FC236}">
                <a16:creationId xmlns="" xmlns:a16="http://schemas.microsoft.com/office/drawing/2014/main" id="{E8AE9E02-9423-4748-8AD7-2BBB3B94A79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4358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1" name="Text Placeholder 17">
            <a:extLst>
              <a:ext uri="{FF2B5EF4-FFF2-40B4-BE49-F238E27FC236}">
                <a16:creationId xmlns="" xmlns:a16="http://schemas.microsoft.com/office/drawing/2014/main" id="{7C692F47-FBF4-5842-A0CA-4B8B48DE46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4358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2" name="Text Placeholder 17">
            <a:extLst>
              <a:ext uri="{FF2B5EF4-FFF2-40B4-BE49-F238E27FC236}">
                <a16:creationId xmlns="" xmlns:a16="http://schemas.microsoft.com/office/drawing/2014/main" id="{BDE48124-A481-074B-9AD4-22EC49D172D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4358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3" name="Text Placeholder 17">
            <a:extLst>
              <a:ext uri="{FF2B5EF4-FFF2-40B4-BE49-F238E27FC236}">
                <a16:creationId xmlns="" xmlns:a16="http://schemas.microsoft.com/office/drawing/2014/main" id="{98E2B4B4-ED02-4945-B581-1A8D48D031A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358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4" name="Text Placeholder 17">
            <a:extLst>
              <a:ext uri="{FF2B5EF4-FFF2-40B4-BE49-F238E27FC236}">
                <a16:creationId xmlns="" xmlns:a16="http://schemas.microsoft.com/office/drawing/2014/main" id="{B70B7DFE-5DE8-0F42-BF3C-DA43110C0D0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358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5" name="Text Placeholder 17">
            <a:extLst>
              <a:ext uri="{FF2B5EF4-FFF2-40B4-BE49-F238E27FC236}">
                <a16:creationId xmlns="" xmlns:a16="http://schemas.microsoft.com/office/drawing/2014/main" id="{D63FCDAD-F7F9-774F-8EC9-A0777820ED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84358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6" name="Text Placeholder 17">
            <a:extLst>
              <a:ext uri="{FF2B5EF4-FFF2-40B4-BE49-F238E27FC236}">
                <a16:creationId xmlns="" xmlns:a16="http://schemas.microsoft.com/office/drawing/2014/main" id="{AE66CCF5-C5F4-5645-A851-E4A7D572FD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4358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="" xmlns:a16="http://schemas.microsoft.com/office/drawing/2014/main" id="{D72EABDE-2DC7-B441-8D65-EC926DD10B85}"/>
              </a:ext>
            </a:extLst>
          </p:cNvPr>
          <p:cNvCxnSpPr>
            <a:cxnSpLocks/>
          </p:cNvCxnSpPr>
          <p:nvPr userDrawn="1"/>
        </p:nvCxnSpPr>
        <p:spPr>
          <a:xfrm>
            <a:off x="4045241" y="1371601"/>
            <a:ext cx="0" cy="333274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17">
            <a:extLst>
              <a:ext uri="{FF2B5EF4-FFF2-40B4-BE49-F238E27FC236}">
                <a16:creationId xmlns="" xmlns:a16="http://schemas.microsoft.com/office/drawing/2014/main" id="{C10680BC-1106-B24D-A63E-02912A2732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857959" y="137160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7" name="Text Placeholder 17">
            <a:extLst>
              <a:ext uri="{FF2B5EF4-FFF2-40B4-BE49-F238E27FC236}">
                <a16:creationId xmlns="" xmlns:a16="http://schemas.microsoft.com/office/drawing/2014/main" id="{194D437D-E8B7-694E-B60A-5A3D6E81171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857959" y="1976479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8" name="Text Placeholder 17">
            <a:extLst>
              <a:ext uri="{FF2B5EF4-FFF2-40B4-BE49-F238E27FC236}">
                <a16:creationId xmlns="" xmlns:a16="http://schemas.microsoft.com/office/drawing/2014/main" id="{D743CFF4-B173-B648-86A6-5021F5FB8C0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857959" y="2581356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89" name="Text Placeholder 17">
            <a:extLst>
              <a:ext uri="{FF2B5EF4-FFF2-40B4-BE49-F238E27FC236}">
                <a16:creationId xmlns="" xmlns:a16="http://schemas.microsoft.com/office/drawing/2014/main" id="{67B9EDF9-023B-A84C-B540-ABBA3E3BA5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57959" y="3186234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0" name="Text Placeholder 17">
            <a:extLst>
              <a:ext uri="{FF2B5EF4-FFF2-40B4-BE49-F238E27FC236}">
                <a16:creationId xmlns="" xmlns:a16="http://schemas.microsoft.com/office/drawing/2014/main" id="{EA82EDEB-3F03-7A48-BC36-8C7437083F4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857959" y="3791113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1" name="Text Placeholder 17">
            <a:extLst>
              <a:ext uri="{FF2B5EF4-FFF2-40B4-BE49-F238E27FC236}">
                <a16:creationId xmlns="" xmlns:a16="http://schemas.microsoft.com/office/drawing/2014/main" id="{8D7A3AD2-4413-D941-B944-D1D235AC66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857959" y="4395990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2" name="Text Placeholder 17">
            <a:extLst>
              <a:ext uri="{FF2B5EF4-FFF2-40B4-BE49-F238E27FC236}">
                <a16:creationId xmlns="" xmlns:a16="http://schemas.microsoft.com/office/drawing/2014/main" id="{F5014509-24B5-6040-8686-31A95601E0B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857959" y="5000868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3" name="Text Placeholder 17">
            <a:extLst>
              <a:ext uri="{FF2B5EF4-FFF2-40B4-BE49-F238E27FC236}">
                <a16:creationId xmlns="" xmlns:a16="http://schemas.microsoft.com/office/drawing/2014/main" id="{02B9D5CB-DA36-724C-A996-6331344816A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857959" y="5605747"/>
            <a:ext cx="2953038" cy="48534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600"/>
            </a:lvl1pPr>
          </a:lstStyle>
          <a:p>
            <a:pPr lvl="0"/>
            <a:r>
              <a:rPr lang="en-GB"/>
              <a:t>Agenda item</a:t>
            </a:r>
            <a:endParaRPr lang="en-US"/>
          </a:p>
        </p:txBody>
      </p:sp>
      <p:sp>
        <p:nvSpPr>
          <p:cNvPr id="94" name="Text Placeholder 17">
            <a:extLst>
              <a:ext uri="{FF2B5EF4-FFF2-40B4-BE49-F238E27FC236}">
                <a16:creationId xmlns="" xmlns:a16="http://schemas.microsoft.com/office/drawing/2014/main" id="{ED51288A-4DF8-0D4F-8BBC-90AE60B661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195094" y="137160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5" name="Text Placeholder 17">
            <a:extLst>
              <a:ext uri="{FF2B5EF4-FFF2-40B4-BE49-F238E27FC236}">
                <a16:creationId xmlns="" xmlns:a16="http://schemas.microsoft.com/office/drawing/2014/main" id="{B55123CE-2705-2A4C-88D5-5BEECF0460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195094" y="1976479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="" xmlns:a16="http://schemas.microsoft.com/office/drawing/2014/main" id="{95340386-A048-C64F-B858-E874FB9006D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195094" y="2581356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="" xmlns:a16="http://schemas.microsoft.com/office/drawing/2014/main" id="{389D3522-38D0-6A46-B023-28998ECDD0F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195094" y="3186234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8" name="Text Placeholder 17">
            <a:extLst>
              <a:ext uri="{FF2B5EF4-FFF2-40B4-BE49-F238E27FC236}">
                <a16:creationId xmlns="" xmlns:a16="http://schemas.microsoft.com/office/drawing/2014/main" id="{DFF1DA35-A5DD-8E48-B33F-D2FC79AD9AF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195094" y="3791113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99" name="Text Placeholder 17">
            <a:extLst>
              <a:ext uri="{FF2B5EF4-FFF2-40B4-BE49-F238E27FC236}">
                <a16:creationId xmlns="" xmlns:a16="http://schemas.microsoft.com/office/drawing/2014/main" id="{2DD1FA43-908E-6A4A-8D78-19F781C138B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195094" y="4395990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0" name="Text Placeholder 17">
            <a:extLst>
              <a:ext uri="{FF2B5EF4-FFF2-40B4-BE49-F238E27FC236}">
                <a16:creationId xmlns="" xmlns:a16="http://schemas.microsoft.com/office/drawing/2014/main" id="{B42DF6FB-CEA5-344B-B42D-A5B8AF0712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195094" y="5000868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101" name="Text Placeholder 17">
            <a:extLst>
              <a:ext uri="{FF2B5EF4-FFF2-40B4-BE49-F238E27FC236}">
                <a16:creationId xmlns="" xmlns:a16="http://schemas.microsoft.com/office/drawing/2014/main" id="{DD7618EA-1B4E-9D4F-BE9D-ED39BC26377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95094" y="5605747"/>
            <a:ext cx="558000" cy="485340"/>
          </a:xfrm>
          <a:prstGeom prst="rect">
            <a:avLst/>
          </a:prstGeom>
        </p:spPr>
        <p:txBody>
          <a:bodyPr anchor="ctr"/>
          <a:lstStyle>
            <a:lvl1pPr marL="0" marR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1" b="1">
                <a:solidFill>
                  <a:schemeClr val="accent1"/>
                </a:solidFill>
              </a:defRPr>
            </a:lvl1pPr>
          </a:lstStyle>
          <a:p>
            <a:pPr marL="0" marR="0" lvl="0" indent="0" algn="ctr" defTabSz="2286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##</a:t>
            </a: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DFC4F5B-DE83-214A-95EA-68339F579CF1}"/>
              </a:ext>
            </a:extLst>
          </p:cNvPr>
          <p:cNvSpPr txBox="1"/>
          <p:nvPr userDrawn="1"/>
        </p:nvSpPr>
        <p:spPr>
          <a:xfrm>
            <a:off x="9290304" y="660196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 defTabSz="228604">
              <a:spcAft>
                <a:spcPts val="1200"/>
              </a:spcAft>
            </a:pPr>
            <a:endParaRPr lang="en-US" sz="1801" noProof="0"/>
          </a:p>
        </p:txBody>
      </p:sp>
    </p:spTree>
    <p:extLst>
      <p:ext uri="{BB962C8B-B14F-4D97-AF65-F5344CB8AC3E}">
        <p14:creationId xmlns:p14="http://schemas.microsoft.com/office/powerpoint/2010/main" val="2758299207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864" userDrawn="1">
          <p15:clr>
            <a:srgbClr val="5ACBF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8D8A76DE-ECA0-60F4-575C-02C407740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25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8D8A76DE-ECA0-60F4-575C-02C407740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F7B9E7BD-B7D1-FF01-F546-0CADB6C2F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25550" y="2909333"/>
            <a:ext cx="9389031" cy="1039334"/>
          </a:xfrm>
          <a:prstGeom prst="rect">
            <a:avLst/>
          </a:prstGeom>
        </p:spPr>
        <p:txBody>
          <a:bodyPr anchor="ctr"/>
          <a:lstStyle>
            <a:lvl1pPr>
              <a:defRPr sz="3200" b="1"/>
            </a:lvl1pPr>
          </a:lstStyle>
          <a:p>
            <a:pPr lvl="0"/>
            <a:r>
              <a:rPr lang="en-US"/>
              <a:t>## - Place section title here in sentence case, max 2 lines </a:t>
            </a:r>
          </a:p>
        </p:txBody>
      </p:sp>
    </p:spTree>
    <p:extLst>
      <p:ext uri="{BB962C8B-B14F-4D97-AF65-F5344CB8AC3E}">
        <p14:creationId xmlns:p14="http://schemas.microsoft.com/office/powerpoint/2010/main" val="609445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92673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4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1279117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5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343565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34356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343562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60692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343770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18931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ppendix</a:t>
            </a:r>
            <a:endParaRPr lang="en-AU" sz="1200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34356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3827969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1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92251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2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15263565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cker Alt 3/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="" xmlns:a16="http://schemas.microsoft.com/office/drawing/2014/main" id="{9027F242-DDAF-B053-93FE-EC12F9D0D9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2919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="" xmlns:a16="http://schemas.microsoft.com/office/drawing/2014/main" id="{9027F242-DDAF-B053-93FE-EC12F9D0D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C15F1EE6-CC2E-D070-A90B-647278E145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49CA66-3B81-6EAF-89CE-191E07E89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ource:</a:t>
            </a: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F070BEA7-0BC2-CD56-A017-D27D458E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580221"/>
            <a:ext cx="11459365" cy="700597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CD4617C1-998F-BABB-B672-58757F8B49B4}"/>
              </a:ext>
            </a:extLst>
          </p:cNvPr>
          <p:cNvSpPr/>
          <p:nvPr userDrawn="1"/>
        </p:nvSpPr>
        <p:spPr>
          <a:xfrm>
            <a:off x="0" y="2949"/>
            <a:ext cx="12192000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B4E814A-67AD-0376-8018-D396961209F9}"/>
              </a:ext>
            </a:extLst>
          </p:cNvPr>
          <p:cNvSpPr/>
          <p:nvPr userDrawn="1"/>
        </p:nvSpPr>
        <p:spPr>
          <a:xfrm>
            <a:off x="407100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60B0EECD-F4E6-FE01-373F-F6EF721113FE}"/>
              </a:ext>
            </a:extLst>
          </p:cNvPr>
          <p:cNvSpPr/>
          <p:nvPr userDrawn="1"/>
        </p:nvSpPr>
        <p:spPr>
          <a:xfrm>
            <a:off x="407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Introduc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50D886A-7DD0-384E-66D1-7C73E4B404D2}"/>
              </a:ext>
            </a:extLst>
          </p:cNvPr>
          <p:cNvSpPr/>
          <p:nvPr userDrawn="1"/>
        </p:nvSpPr>
        <p:spPr>
          <a:xfrm>
            <a:off x="27566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9C9EB9D1-14EF-8CB4-5D66-915D1D663FA7}"/>
              </a:ext>
            </a:extLst>
          </p:cNvPr>
          <p:cNvSpPr/>
          <p:nvPr userDrawn="1"/>
        </p:nvSpPr>
        <p:spPr>
          <a:xfrm>
            <a:off x="5106101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AU" sz="12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Methodolog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FB1B00-60DD-AE89-42C0-D20DA9257E77}"/>
              </a:ext>
            </a:extLst>
          </p:cNvPr>
          <p:cNvSpPr/>
          <p:nvPr userDrawn="1"/>
        </p:nvSpPr>
        <p:spPr>
          <a:xfrm>
            <a:off x="74556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8B1D390B-CE01-6D47-0B58-0D1BA5C82FA5}"/>
              </a:ext>
            </a:extLst>
          </p:cNvPr>
          <p:cNvSpPr/>
          <p:nvPr userDrawn="1"/>
        </p:nvSpPr>
        <p:spPr>
          <a:xfrm>
            <a:off x="9805100" y="68807"/>
            <a:ext cx="1979801" cy="293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20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Conclus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023BB1E6-BF42-C8B4-4A21-11143FDD27D8}"/>
              </a:ext>
            </a:extLst>
          </p:cNvPr>
          <p:cNvSpPr/>
          <p:nvPr userDrawn="1"/>
        </p:nvSpPr>
        <p:spPr>
          <a:xfrm>
            <a:off x="2756601" y="2744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3E295B5C-8C45-B6D5-118C-D92163FD82D9}"/>
              </a:ext>
            </a:extLst>
          </p:cNvPr>
          <p:cNvSpPr/>
          <p:nvPr userDrawn="1"/>
        </p:nvSpPr>
        <p:spPr>
          <a:xfrm>
            <a:off x="5102139" y="2743"/>
            <a:ext cx="1979801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AU" sz="1801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6503FAF-4D61-241B-6D38-A468ADF7204E}"/>
              </a:ext>
            </a:extLst>
          </p:cNvPr>
          <p:cNvSpPr/>
          <p:nvPr userDrawn="1"/>
        </p:nvSpPr>
        <p:spPr>
          <a:xfrm>
            <a:off x="7447676" y="2742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910F1C8B-5896-88A6-5EDA-164A77B5481A}"/>
              </a:ext>
            </a:extLst>
          </p:cNvPr>
          <p:cNvSpPr/>
          <p:nvPr userDrawn="1"/>
        </p:nvSpPr>
        <p:spPr>
          <a:xfrm>
            <a:off x="9793214" y="2741"/>
            <a:ext cx="1979801" cy="5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1"/>
          </a:p>
        </p:txBody>
      </p:sp>
    </p:spTree>
    <p:extLst>
      <p:ext uri="{BB962C8B-B14F-4D97-AF65-F5344CB8AC3E}">
        <p14:creationId xmlns:p14="http://schemas.microsoft.com/office/powerpoint/2010/main" val="4079992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DBCE4D4F-8CCC-404C-840E-8A45E0764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05608378"/>
              </p:ext>
            </p:extLst>
          </p:nvPr>
        </p:nvGraphicFramePr>
        <p:xfrm>
          <a:off x="1588" y="1587"/>
          <a:ext cx="158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31" imgW="395" imgH="394" progId="TCLayout.ActiveDocument.1">
                  <p:embed/>
                </p:oleObj>
              </mc:Choice>
              <mc:Fallback>
                <p:oleObj name="think-cell Slide" r:id="rId3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DBCE4D4F-8CCC-404C-840E-8A45E076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C4AAB9D-85C6-43AB-8696-D55AD6DDE24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1"/>
            <a:ext cx="158812" cy="158713"/>
          </a:xfrm>
          <a:prstGeom prst="rect">
            <a:avLst/>
          </a:prstGeom>
          <a:solidFill>
            <a:schemeClr val="accent2"/>
          </a:solidFill>
          <a:ln w="19050">
            <a:noFill/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98" b="1" i="0" baseline="0">
              <a:solidFill>
                <a:schemeClr val="bg1"/>
              </a:solidFill>
              <a:latin typeface="Graphik" panose="020B0503030202060203" pitchFamily="34" charset="0"/>
              <a:cs typeface="Arial" panose="020B0604020202020204" pitchFamily="34" charset="0"/>
              <a:sym typeface="Graphik" panose="020B0503030202060203" pitchFamily="34" charset="0"/>
            </a:endParaRPr>
          </a:p>
        </p:txBody>
      </p:sp>
      <p:sp>
        <p:nvSpPr>
          <p:cNvPr id="8" name="Slide Number Placeholder 9">
            <a:extLst>
              <a:ext uri="{FF2B5EF4-FFF2-40B4-BE49-F238E27FC236}">
                <a16:creationId xmlns="" xmlns:a16="http://schemas.microsoft.com/office/drawing/2014/main" id="{E029236F-8D4F-46BA-A33A-11E2F113A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H="1">
            <a:off x="10946922" y="6401006"/>
            <a:ext cx="561476" cy="273402"/>
          </a:xfrm>
          <a:prstGeom prst="rect">
            <a:avLst/>
          </a:prstGeom>
        </p:spPr>
        <p:txBody>
          <a:bodyPr tIns="0" bIns="0" anchor="b"/>
          <a:lstStyle>
            <a:lvl1pPr algn="l">
              <a:defRPr sz="1001" b="0">
                <a:solidFill>
                  <a:schemeClr val="tx1"/>
                </a:solidFill>
                <a:latin typeface="+mj-lt"/>
              </a:defRPr>
            </a:lvl1pPr>
          </a:lstStyle>
          <a:p>
            <a:fld id="{4F9AC08D-23A9-440E-BCB9-AA1E9877CC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6">
            <a:extLst>
              <a:ext uri="{FF2B5EF4-FFF2-40B4-BE49-F238E27FC236}">
                <a16:creationId xmlns="" xmlns:a16="http://schemas.microsoft.com/office/drawing/2014/main" id="{37E62055-3E0F-4EBB-A962-F9600119E4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5739" y="6402651"/>
            <a:ext cx="3733634" cy="270112"/>
          </a:xfrm>
          <a:prstGeom prst="rect">
            <a:avLst/>
          </a:prstGeom>
        </p:spPr>
        <p:txBody>
          <a:bodyPr tIns="0" bIns="0" anchor="ctr"/>
          <a:lstStyle>
            <a:lvl1pPr algn="l">
              <a:defRPr sz="800">
                <a:solidFill>
                  <a:schemeClr val="tx1">
                    <a:alpha val="50000"/>
                  </a:schemeClr>
                </a:solidFill>
                <a:latin typeface="+mn-lt"/>
              </a:defRPr>
            </a:lvl1pPr>
          </a:lstStyle>
          <a:p>
            <a:r>
              <a:rPr lang="en-GB"/>
              <a:t>Source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="" xmlns:a16="http://schemas.microsoft.com/office/drawing/2014/main" id="{A66CE9E3-35BA-4A0B-8098-8A65954FE472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97" y="6393635"/>
            <a:ext cx="350924" cy="28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9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0" r:id="rId2"/>
    <p:sldLayoutId id="2147483721" r:id="rId3"/>
    <p:sldLayoutId id="2147483722" r:id="rId4"/>
    <p:sldLayoutId id="2147483726" r:id="rId5"/>
    <p:sldLayoutId id="2147483740" r:id="rId6"/>
    <p:sldLayoutId id="2147483725" r:id="rId7"/>
    <p:sldLayoutId id="2147483727" r:id="rId8"/>
    <p:sldLayoutId id="2147483728" r:id="rId9"/>
    <p:sldLayoutId id="2147483729" r:id="rId10"/>
    <p:sldLayoutId id="2147483730" r:id="rId11"/>
    <p:sldLayoutId id="2147483739" r:id="rId12"/>
    <p:sldLayoutId id="2147483735" r:id="rId13"/>
    <p:sldLayoutId id="2147483736" r:id="rId14"/>
    <p:sldLayoutId id="2147483737" r:id="rId15"/>
    <p:sldLayoutId id="2147483738" r:id="rId16"/>
    <p:sldLayoutId id="2147483731" r:id="rId17"/>
    <p:sldLayoutId id="2147483732" r:id="rId18"/>
    <p:sldLayoutId id="2147483733" r:id="rId19"/>
    <p:sldLayoutId id="2147483734" r:id="rId20"/>
    <p:sldLayoutId id="2147483710" r:id="rId21"/>
    <p:sldLayoutId id="2147483719" r:id="rId22"/>
    <p:sldLayoutId id="2147483706" r:id="rId23"/>
    <p:sldLayoutId id="2147483712" r:id="rId24"/>
    <p:sldLayoutId id="2147483707" r:id="rId25"/>
    <p:sldLayoutId id="2147483708" r:id="rId26"/>
  </p:sldLayoutIdLst>
  <p:hf hdr="0" ftr="0" dt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buFont typeface="Arial" charset="0"/>
        <a:defRPr lang="en-AU" sz="2800" b="1" i="0" kern="1200" cap="none" spc="-149" baseline="0" dirty="0" smtClean="0">
          <a:solidFill>
            <a:schemeClr val="tx1"/>
          </a:solidFill>
          <a:latin typeface="+mj-lt"/>
          <a:ea typeface="Roboto Black" panose="02000000000000000000" pitchFamily="2" charset="0"/>
          <a:cs typeface="Arial" panose="020B0604020202020204" pitchFamily="34" charset="0"/>
        </a:defRPr>
      </a:lvl1pPr>
      <a:lvl2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2pPr>
      <a:lvl3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3pPr>
      <a:lvl4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4pPr>
      <a:lvl5pPr algn="l" rtl="0" eaLnBrk="1" fontAlgn="base" hangingPunct="1">
        <a:lnSpc>
          <a:spcPts val="3465"/>
        </a:lnSpc>
        <a:spcBef>
          <a:spcPct val="0"/>
        </a:spcBef>
        <a:spcAft>
          <a:spcPct val="0"/>
        </a:spcAft>
        <a:buFont typeface="Arial" charset="0"/>
        <a:defRPr sz="3198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5pPr>
      <a:lvl6pPr marL="609329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6pPr>
      <a:lvl7pPr marL="1218657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7pPr>
      <a:lvl8pPr marL="1827986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8pPr>
      <a:lvl9pPr marL="2437314" algn="l" rtl="0" eaLnBrk="1" fontAlgn="base" hangingPunct="1">
        <a:spcBef>
          <a:spcPct val="0"/>
        </a:spcBef>
        <a:spcAft>
          <a:spcPct val="0"/>
        </a:spcAft>
        <a:buFont typeface="Arial" pitchFamily="-105" charset="-52"/>
        <a:defRPr sz="3499">
          <a:solidFill>
            <a:schemeClr val="tx1"/>
          </a:solidFill>
          <a:latin typeface="Arial" pitchFamily="-105" charset="-52"/>
          <a:ea typeface="Arial" pitchFamily="-105" charset="-52"/>
          <a:cs typeface="Arial" pitchFamily="-105" charset="-52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None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1pPr>
      <a:lvl2pPr marL="21596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2pPr>
      <a:lvl3pPr marL="431920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tabLst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3pPr>
      <a:lvl4pPr marL="611885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•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4pPr>
      <a:lvl5pPr marL="863838" indent="-215960" algn="l" rtl="0" eaLnBrk="1" fontAlgn="base" hangingPunct="1">
        <a:lnSpc>
          <a:spcPct val="100000"/>
        </a:lnSpc>
        <a:spcBef>
          <a:spcPts val="601"/>
        </a:spcBef>
        <a:spcAft>
          <a:spcPct val="0"/>
        </a:spcAft>
        <a:buFont typeface="Arial" pitchFamily="34" charset="0"/>
        <a:buChar char="‒"/>
        <a:defRPr sz="1801" b="0" i="0" kern="1200">
          <a:solidFill>
            <a:schemeClr val="tx1"/>
          </a:solidFill>
          <a:latin typeface="+mn-lt"/>
          <a:ea typeface="Roboto" panose="02000000000000000000" pitchFamily="2" charset="0"/>
          <a:cs typeface="Arial" panose="020B0604020202020204" pitchFamily="34" charset="0"/>
        </a:defRPr>
      </a:lvl5pPr>
      <a:lvl6pPr marL="335130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634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7pPr>
      <a:lvl8pPr marL="4569963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290" indent="-304665" algn="l" defTabSz="1218657" rtl="0" eaLnBrk="1" latinLnBrk="0" hangingPunct="1">
        <a:spcBef>
          <a:spcPct val="20000"/>
        </a:spcBef>
        <a:buFont typeface="Arial" pitchFamily="34" charset="0"/>
        <a:buChar char="•"/>
        <a:defRPr sz="26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29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57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4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43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71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98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26" algn="l" defTabSz="12186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1119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pos="7452" userDrawn="1">
          <p15:clr>
            <a:srgbClr val="F26B43"/>
          </p15:clr>
        </p15:guide>
        <p15:guide id="4" pos="1276" userDrawn="1">
          <p15:clr>
            <a:srgbClr val="F26B43"/>
          </p15:clr>
        </p15:guide>
        <p15:guide id="5" pos="1460" userDrawn="1">
          <p15:clr>
            <a:srgbClr val="F26B43"/>
          </p15:clr>
        </p15:guide>
        <p15:guide id="6" pos="2514" userDrawn="1">
          <p15:clr>
            <a:srgbClr val="F26B43"/>
          </p15:clr>
        </p15:guide>
        <p15:guide id="7" pos="2697" userDrawn="1">
          <p15:clr>
            <a:srgbClr val="F26B43"/>
          </p15:clr>
        </p15:guide>
        <p15:guide id="8" pos="3929" userDrawn="1">
          <p15:clr>
            <a:srgbClr val="F26B43"/>
          </p15:clr>
        </p15:guide>
        <p15:guide id="9" pos="3748" userDrawn="1">
          <p15:clr>
            <a:srgbClr val="F26B43"/>
          </p15:clr>
        </p15:guide>
        <p15:guide id="10" pos="4981" userDrawn="1">
          <p15:clr>
            <a:srgbClr val="F26B43"/>
          </p15:clr>
        </p15:guide>
        <p15:guide id="11" pos="5163" userDrawn="1">
          <p15:clr>
            <a:srgbClr val="F26B43"/>
          </p15:clr>
        </p15:guide>
        <p15:guide id="12" pos="6219" userDrawn="1">
          <p15:clr>
            <a:srgbClr val="F26B43"/>
          </p15:clr>
        </p15:guide>
        <p15:guide id="13" pos="6398" userDrawn="1">
          <p15:clr>
            <a:srgbClr val="F26B43"/>
          </p15:clr>
        </p15:guide>
        <p15:guide id="14" orient="horz" pos="807" userDrawn="1">
          <p15:clr>
            <a:srgbClr val="F26B43"/>
          </p15:clr>
        </p15:guide>
        <p15:guide id="15" orient="horz" pos="876" userDrawn="1">
          <p15:clr>
            <a:srgbClr val="F26B43"/>
          </p15:clr>
        </p15:guide>
        <p15:guide id="16" orient="horz" pos="4031" userDrawn="1">
          <p15:clr>
            <a:srgbClr val="F26B43"/>
          </p15:clr>
        </p15:guide>
        <p15:guide id="17" orient="horz" pos="597" userDrawn="1">
          <p15:clr>
            <a:srgbClr val="F26B43"/>
          </p15:clr>
        </p15:guide>
        <p15:guide id="18" orient="horz" pos="2435" userDrawn="1">
          <p15:clr>
            <a:srgbClr val="F26B43"/>
          </p15:clr>
        </p15:guide>
        <p15:guide id="19" orient="horz" pos="3756" userDrawn="1">
          <p15:clr>
            <a:srgbClr val="F26B43"/>
          </p15:clr>
        </p15:guide>
        <p15:guide id="20" orient="horz" pos="41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7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0.svg"/><Relationship Id="rId5" Type="http://schemas.openxmlformats.org/officeDocument/2006/relationships/image" Target="../media/image18.png"/><Relationship Id="rId4" Type="http://schemas.openxmlformats.org/officeDocument/2006/relationships/image" Target="../media/image18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19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4.svg"/><Relationship Id="rId5" Type="http://schemas.openxmlformats.org/officeDocument/2006/relationships/image" Target="../media/image20.png"/><Relationship Id="rId4" Type="http://schemas.openxmlformats.org/officeDocument/2006/relationships/image" Target="../media/image2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D4C2F22E-E243-8210-4540-9940E39FFA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E87FC400-D916-8DB3-0752-65DA4D705E5D}"/>
              </a:ext>
            </a:extLst>
          </p:cNvPr>
          <p:cNvSpPr/>
          <p:nvPr/>
        </p:nvSpPr>
        <p:spPr>
          <a:xfrm>
            <a:off x="5055485" y="2882523"/>
            <a:ext cx="6511636" cy="646455"/>
          </a:xfrm>
          <a:prstGeom prst="rect">
            <a:avLst/>
          </a:prstGeom>
          <a:solidFill>
            <a:srgbClr val="238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Broad-based Prosper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How can we increase living standards in an inclusive and sustainable way? 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roxima Nova Rg"/>
              <a:ea typeface="+mn-ea"/>
              <a:cs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892343FF-A32B-A2A5-D736-10A3DB4D9243}"/>
              </a:ext>
            </a:extLst>
          </p:cNvPr>
          <p:cNvSpPr/>
          <p:nvPr/>
        </p:nvSpPr>
        <p:spPr>
          <a:xfrm>
            <a:off x="4866226" y="3818360"/>
            <a:ext cx="1567038" cy="508000"/>
          </a:xfrm>
          <a:prstGeom prst="rect">
            <a:avLst/>
          </a:prstGeom>
          <a:solidFill>
            <a:srgbClr val="238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HOUS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E8CC9C55-0A42-0794-2F49-B363D7BFD7A4}"/>
              </a:ext>
            </a:extLst>
          </p:cNvPr>
          <p:cNvSpPr/>
          <p:nvPr/>
        </p:nvSpPr>
        <p:spPr>
          <a:xfrm>
            <a:off x="6650627" y="3818360"/>
            <a:ext cx="1567038" cy="508000"/>
          </a:xfrm>
          <a:prstGeom prst="rect">
            <a:avLst/>
          </a:prstGeom>
          <a:solidFill>
            <a:srgbClr val="238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EDUCA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3E12020-4E3A-DB6D-0D3C-8586FB61A1EE}"/>
              </a:ext>
            </a:extLst>
          </p:cNvPr>
          <p:cNvSpPr/>
          <p:nvPr/>
        </p:nvSpPr>
        <p:spPr>
          <a:xfrm>
            <a:off x="8435028" y="3818360"/>
            <a:ext cx="1567038" cy="508000"/>
          </a:xfrm>
          <a:prstGeom prst="rect">
            <a:avLst/>
          </a:prstGeom>
          <a:solidFill>
            <a:srgbClr val="238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SOCIAL POLIC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D65A32BB-CFBD-63A4-E1BA-3CC35899C898}"/>
              </a:ext>
            </a:extLst>
          </p:cNvPr>
          <p:cNvSpPr/>
          <p:nvPr/>
        </p:nvSpPr>
        <p:spPr>
          <a:xfrm>
            <a:off x="10215926" y="3818360"/>
            <a:ext cx="1567038" cy="508000"/>
          </a:xfrm>
          <a:prstGeom prst="rect">
            <a:avLst/>
          </a:prstGeom>
          <a:solidFill>
            <a:srgbClr val="238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STRUCTURAL POLICY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="" xmlns:a16="http://schemas.microsoft.com/office/drawing/2014/main" id="{2A83D664-884C-D75C-B3CA-81A8B4DC072F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 rot="5400000">
            <a:off x="6835833" y="2342890"/>
            <a:ext cx="289382" cy="2661558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="" xmlns:a16="http://schemas.microsoft.com/office/drawing/2014/main" id="{CB1C944F-2125-A5DD-2507-DA2C0F274F87}"/>
              </a:ext>
            </a:extLst>
          </p:cNvPr>
          <p:cNvCxnSpPr>
            <a:cxnSpLocks/>
            <a:stCxn id="4" idx="2"/>
            <a:endCxn id="6" idx="0"/>
          </p:cNvCxnSpPr>
          <p:nvPr/>
        </p:nvCxnSpPr>
        <p:spPr>
          <a:xfrm rot="5400000">
            <a:off x="7728034" y="3235091"/>
            <a:ext cx="289382" cy="877157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nector: Elbow 10">
            <a:extLst>
              <a:ext uri="{FF2B5EF4-FFF2-40B4-BE49-F238E27FC236}">
                <a16:creationId xmlns="" xmlns:a16="http://schemas.microsoft.com/office/drawing/2014/main" id="{F3A7A870-7A15-E1EF-A034-0E4C820AB824}"/>
              </a:ext>
            </a:extLst>
          </p:cNvPr>
          <p:cNvCxnSpPr>
            <a:cxnSpLocks/>
            <a:stCxn id="4" idx="2"/>
            <a:endCxn id="7" idx="0"/>
          </p:cNvCxnSpPr>
          <p:nvPr/>
        </p:nvCxnSpPr>
        <p:spPr>
          <a:xfrm rot="16200000" flipH="1">
            <a:off x="8620234" y="3220047"/>
            <a:ext cx="289382" cy="907244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="" xmlns:a16="http://schemas.microsoft.com/office/drawing/2014/main" id="{99638687-A95B-1040-A87C-837E57E0C6E6}"/>
              </a:ext>
            </a:extLst>
          </p:cNvPr>
          <p:cNvCxnSpPr>
            <a:cxnSpLocks/>
            <a:stCxn id="4" idx="2"/>
            <a:endCxn id="8" idx="0"/>
          </p:cNvCxnSpPr>
          <p:nvPr/>
        </p:nvCxnSpPr>
        <p:spPr>
          <a:xfrm rot="16200000" flipH="1">
            <a:off x="9510683" y="2329598"/>
            <a:ext cx="289382" cy="2688142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DB16C9E4-C73B-6D0F-93F5-A51F6700EDE9}"/>
              </a:ext>
            </a:extLst>
          </p:cNvPr>
          <p:cNvSpPr/>
          <p:nvPr/>
        </p:nvSpPr>
        <p:spPr>
          <a:xfrm>
            <a:off x="4866226" y="4326359"/>
            <a:ext cx="1567038" cy="19090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AU" sz="1200" dirty="0">
                <a:solidFill>
                  <a:schemeClr val="tx1"/>
                </a:solidFill>
                <a:latin typeface="Proxima Nova Rg"/>
              </a:rPr>
              <a:t>Household mobility and location choi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A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oxima Nova Rg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AU" sz="1200" dirty="0">
                <a:solidFill>
                  <a:schemeClr val="tx1"/>
                </a:solidFill>
                <a:latin typeface="Proxima Nova Rg"/>
              </a:rPr>
              <a:t>Housing affordability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AU" sz="1200" dirty="0">
              <a:solidFill>
                <a:schemeClr val="tx1"/>
              </a:solidFill>
              <a:latin typeface="Proxima Nova Rg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AU" sz="1200" dirty="0">
                <a:solidFill>
                  <a:schemeClr val="tx1"/>
                </a:solidFill>
                <a:latin typeface="Proxima Nova Rg"/>
              </a:rPr>
              <a:t>Housing supply and price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A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oxima Nova Rg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A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oxima Nova Rg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AU" sz="1200" dirty="0">
              <a:solidFill>
                <a:schemeClr val="tx1"/>
              </a:solidFill>
              <a:latin typeface="Proxima Nova Rg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B41A7015-A2E5-1DCC-6F3E-5099E6C166BF}"/>
              </a:ext>
            </a:extLst>
          </p:cNvPr>
          <p:cNvSpPr/>
          <p:nvPr/>
        </p:nvSpPr>
        <p:spPr>
          <a:xfrm>
            <a:off x="10215926" y="4340482"/>
            <a:ext cx="1567038" cy="18949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Industrial relations</a:t>
            </a:r>
            <a:endParaRPr lang="en-A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oxima Nova Rg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AU" sz="1200">
              <a:solidFill>
                <a:schemeClr val="tx1"/>
              </a:solidFill>
              <a:latin typeface="Proxima Nova Rg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Barriers to labour mobility</a:t>
            </a:r>
            <a:r>
              <a:rPr lang="en-AU" sz="1200">
                <a:solidFill>
                  <a:schemeClr val="tx1"/>
                </a:solidFill>
                <a:latin typeface="Proxima Nova Rg"/>
              </a:rPr>
              <a:t> </a:t>
            </a:r>
            <a:endParaRPr lang="en-AU" sz="1200">
              <a:solidFill>
                <a:schemeClr val="tx1"/>
              </a:solidFill>
              <a:latin typeface="Proxima Nova Rg"/>
              <a:cs typeface="Calibri"/>
            </a:endParaRPr>
          </a:p>
          <a:p>
            <a:pPr>
              <a:defRPr/>
            </a:pPr>
            <a:endParaRPr lang="en-AU" sz="1200">
              <a:solidFill>
                <a:schemeClr val="tx1"/>
              </a:solidFill>
              <a:latin typeface="Proxima Nova Rg"/>
            </a:endParaRPr>
          </a:p>
          <a:p>
            <a:pPr marL="171450" marR="0" lvl="0" indent="-17145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Innovation policy</a:t>
            </a:r>
            <a:endParaRPr lang="en-A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oxima Nova Rg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AU" sz="1200">
              <a:solidFill>
                <a:schemeClr val="tx1"/>
              </a:solidFill>
              <a:latin typeface="Proxima Nova Rg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A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oxima Nova Rg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oxima Nova Rg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oxima Nova Rg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6E9A7363-CB47-7A10-764C-7F94A7C0D0A1}"/>
              </a:ext>
            </a:extLst>
          </p:cNvPr>
          <p:cNvSpPr/>
          <p:nvPr/>
        </p:nvSpPr>
        <p:spPr>
          <a:xfrm>
            <a:off x="6650627" y="4333115"/>
            <a:ext cx="1567038" cy="19090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Skills, education and labour market outcomes</a:t>
            </a:r>
            <a:endParaRPr lang="en-A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oxima Nova Rg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A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Proxima Nova Rg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Gender pay gaps</a:t>
            </a:r>
            <a:endParaRPr lang="en-AU" sz="1200" dirty="0">
              <a:solidFill>
                <a:schemeClr val="tx1"/>
              </a:solidFill>
              <a:latin typeface="Proxima Nova Rg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AU" sz="1200" dirty="0">
              <a:solidFill>
                <a:schemeClr val="tx1"/>
              </a:solidFill>
              <a:latin typeface="Proxima Nova Rg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AU" sz="1200" dirty="0">
                <a:solidFill>
                  <a:schemeClr val="tx1"/>
                </a:solidFill>
                <a:latin typeface="Proxima Nova Rg"/>
              </a:rPr>
              <a:t>Childcare costs and labour force particip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dirty="0">
              <a:solidFill>
                <a:schemeClr val="tx1"/>
              </a:solidFill>
              <a:latin typeface="Proxima Nova Rg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11D15AEB-85D5-173E-A45A-2AAA65162115}"/>
              </a:ext>
            </a:extLst>
          </p:cNvPr>
          <p:cNvSpPr/>
          <p:nvPr/>
        </p:nvSpPr>
        <p:spPr>
          <a:xfrm>
            <a:off x="8435028" y="4326358"/>
            <a:ext cx="1567038" cy="19090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lang="en-AU" sz="1200">
                <a:solidFill>
                  <a:schemeClr val="tx1"/>
                </a:solidFill>
                <a:latin typeface="Proxima Nova Rg"/>
              </a:rPr>
              <a:t>Jobseeker and labour supp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>
              <a:solidFill>
                <a:schemeClr val="tx1"/>
              </a:solidFill>
              <a:latin typeface="Proxima Nova Rg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lang="en-AU" sz="1200">
                <a:solidFill>
                  <a:schemeClr val="tx1"/>
                </a:solidFill>
                <a:latin typeface="Proxima Nova Rg"/>
              </a:rPr>
              <a:t>Disability support and employment barrie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endParaRPr lang="en-AU" sz="1200">
              <a:solidFill>
                <a:schemeClr val="tx1"/>
              </a:solidFill>
              <a:latin typeface="Proxima Nova Rg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r>
              <a:rPr lang="en-AU" sz="1200">
                <a:solidFill>
                  <a:schemeClr val="tx1"/>
                </a:solidFill>
                <a:latin typeface="Proxima Nova Rg"/>
              </a:rPr>
              <a:t>Income support and poverty traps</a:t>
            </a:r>
            <a:endParaRPr lang="en-US" sz="1200">
              <a:solidFill>
                <a:schemeClr val="tx1"/>
              </a:solidFill>
              <a:latin typeface="Proxima Nova Rg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oxima Nova Rg"/>
              <a:ea typeface="+mn-ea"/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B60B9E1E-A08F-A851-9DC9-EEB652A6F4EC}"/>
              </a:ext>
            </a:extLst>
          </p:cNvPr>
          <p:cNvSpPr txBox="1"/>
          <p:nvPr/>
        </p:nvSpPr>
        <p:spPr>
          <a:xfrm>
            <a:off x="2751526" y="442317"/>
            <a:ext cx="862615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cs typeface="Calibri"/>
              </a:rPr>
              <a:t>We are a</a:t>
            </a:r>
            <a:r>
              <a:rPr lang="en-GB" sz="2800" b="1" dirty="0">
                <a:ea typeface="+mn-ea"/>
                <a:cs typeface="Calibri"/>
              </a:rPr>
              <a:t> </a:t>
            </a:r>
            <a:r>
              <a:rPr lang="en-GB" sz="2800" b="1" dirty="0">
                <a:solidFill>
                  <a:srgbClr val="008080"/>
                </a:solidFill>
                <a:ea typeface="+mn-ea"/>
                <a:cs typeface="Calibri"/>
              </a:rPr>
              <a:t>politically independent </a:t>
            </a:r>
            <a:r>
              <a:rPr lang="en-GB" sz="2800" b="1" dirty="0">
                <a:ea typeface="+mn-ea"/>
                <a:cs typeface="Calibri"/>
              </a:rPr>
              <a:t>research institute formed to address the </a:t>
            </a:r>
            <a:r>
              <a:rPr lang="en-GB" sz="2800" b="1" dirty="0">
                <a:solidFill>
                  <a:srgbClr val="008080"/>
                </a:solidFill>
                <a:ea typeface="+mn-ea"/>
                <a:cs typeface="Calibri"/>
              </a:rPr>
              <a:t>key</a:t>
            </a:r>
            <a:r>
              <a:rPr lang="en-GB" sz="2800" b="1" dirty="0">
                <a:ea typeface="+mn-ea"/>
                <a:cs typeface="Calibri"/>
              </a:rPr>
              <a:t> </a:t>
            </a:r>
            <a:r>
              <a:rPr lang="en-GB" sz="2800" b="1" dirty="0">
                <a:solidFill>
                  <a:srgbClr val="008080"/>
                </a:solidFill>
                <a:ea typeface="+mn-ea"/>
                <a:cs typeface="Calibri"/>
              </a:rPr>
              <a:t>economic policy questions facing Australia</a:t>
            </a:r>
            <a:endParaRPr lang="en-GB" sz="2800" b="1" dirty="0">
              <a:ea typeface="+mn-ea"/>
              <a:cs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19CF6D7D-D809-3A39-6481-8265C16AEAEE}"/>
              </a:ext>
            </a:extLst>
          </p:cNvPr>
          <p:cNvSpPr txBox="1"/>
          <p:nvPr/>
        </p:nvSpPr>
        <p:spPr>
          <a:xfrm>
            <a:off x="4768738" y="2282867"/>
            <a:ext cx="7085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ea typeface="+mn-ea"/>
                <a:cs typeface="Calibri"/>
              </a:rPr>
              <a:t>Currently structured around four units:</a:t>
            </a:r>
          </a:p>
        </p:txBody>
      </p:sp>
      <p:graphicFrame>
        <p:nvGraphicFramePr>
          <p:cNvPr id="19" name="Diagram 18">
            <a:extLst>
              <a:ext uri="{FF2B5EF4-FFF2-40B4-BE49-F238E27FC236}">
                <a16:creationId xmlns="" xmlns:a16="http://schemas.microsoft.com/office/drawing/2014/main" id="{C2192863-EF2B-073A-7604-7C8AF1315D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6635271"/>
              </p:ext>
            </p:extLst>
          </p:nvPr>
        </p:nvGraphicFramePr>
        <p:xfrm>
          <a:off x="322389" y="2882522"/>
          <a:ext cx="3735717" cy="33596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72F73850-0BA3-E179-0D66-95AE276ED858}"/>
              </a:ext>
            </a:extLst>
          </p:cNvPr>
          <p:cNvSpPr txBox="1"/>
          <p:nvPr/>
        </p:nvSpPr>
        <p:spPr>
          <a:xfrm>
            <a:off x="137845" y="2282866"/>
            <a:ext cx="41048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cs typeface="Calibri"/>
              </a:rPr>
              <a:t>Our analysis emphasises:</a:t>
            </a:r>
            <a:endParaRPr lang="en-GB" sz="2400" b="1" dirty="0">
              <a:ea typeface="+mn-ea"/>
              <a:cs typeface="Calibri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15587A50-3517-A091-C638-D2E1481D02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2439" y="442317"/>
            <a:ext cx="2103904" cy="1460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7535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5507B959-9E35-3EC1-53CB-968CEE0AEF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5507B959-9E35-3EC1-53CB-968CEE0AE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373719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5507B959-9E35-3EC1-53CB-968CEE0AEF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5507B959-9E35-3EC1-53CB-968CEE0AE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="" xmlns:a16="http://schemas.microsoft.com/office/drawing/2014/main" id="{36DFE691-484D-0A62-B4FF-81300FDD9C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9093" y="704674"/>
            <a:ext cx="7997522" cy="1922478"/>
          </a:xfrm>
        </p:spPr>
        <p:txBody>
          <a:bodyPr/>
          <a:lstStyle/>
          <a:p>
            <a:r>
              <a:rPr lang="en-AU" dirty="0"/>
              <a:t>Stepped on </a:t>
            </a:r>
            <a:br>
              <a:rPr lang="en-AU" dirty="0"/>
            </a:br>
            <a:r>
              <a:rPr lang="en-AU" dirty="0"/>
              <a:t>by stamp duty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="" xmlns:a16="http://schemas.microsoft.com/office/drawing/2014/main" id="{8BAD583D-414C-8D2B-DA03-8F81A23522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9093" y="2787887"/>
            <a:ext cx="6884562" cy="1092845"/>
          </a:xfrm>
        </p:spPr>
        <p:txBody>
          <a:bodyPr/>
          <a:lstStyle/>
          <a:p>
            <a:r>
              <a:rPr lang="en-AU" dirty="0"/>
              <a:t>The effect of housing transfer taxes on home purchases and people movemen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C7F4955A-2927-2A7F-F09E-0AAD319A92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9093" y="4169736"/>
            <a:ext cx="6610724" cy="530687"/>
          </a:xfrm>
        </p:spPr>
        <p:txBody>
          <a:bodyPr/>
          <a:lstStyle/>
          <a:p>
            <a:r>
              <a:rPr lang="en-AU" dirty="0"/>
              <a:t>Melbourne Money and Finance Conference, 6 February 2024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FA8EA512-8EB5-AB46-84BC-685DB8D243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9091" y="3821595"/>
            <a:ext cx="7424457" cy="348141"/>
          </a:xfrm>
        </p:spPr>
        <p:txBody>
          <a:bodyPr/>
          <a:lstStyle/>
          <a:p>
            <a:r>
              <a:rPr lang="en-US" dirty="0"/>
              <a:t>Nicholas Garvin, Gianni La Cava, Angus Moore (</a:t>
            </a:r>
            <a:r>
              <a:rPr lang="en-US" dirty="0" err="1"/>
              <a:t>PropTrack</a:t>
            </a:r>
            <a:r>
              <a:rPr lang="en-US" dirty="0"/>
              <a:t>) and Aaron Wo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0958D15E-8313-6329-C5C7-8F73B801E1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8183" y="5075175"/>
            <a:ext cx="3346994" cy="85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7723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1D2F1F3E-24FE-E782-CF3A-D90BF2D336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2A786F7C-A62B-9F44-8235-CB1AFBA14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he clear costs of stamp dut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89BE9B3-34D3-3301-CE4A-309ABB1FA7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Introduc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E2636F5A-09C6-3121-1127-67DFA85B61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218" y="1761687"/>
            <a:ext cx="4696985" cy="403388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71C854C0-62C9-CA04-DFB0-8DC6B1EE06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8968" y="1761687"/>
            <a:ext cx="4701814" cy="409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6713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CB3D59E7-B516-6429-0DD1-64BDCD476A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1699330-1659-7005-610A-9273EAF805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24966"/>
            <a:ext cx="11459365" cy="700597"/>
          </a:xfrm>
        </p:spPr>
        <p:txBody>
          <a:bodyPr/>
          <a:lstStyle/>
          <a:p>
            <a:r>
              <a:rPr lang="en-AU" dirty="0"/>
              <a:t>A large stamp duty change in Queensland in 2011 offers a natural experiment for identifying the sensitivity of reac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06F7E532-38A3-9557-D195-8C2E21F7CD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Method 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C62B380C-8C82-5763-7BD1-EED862B4129C}"/>
              </a:ext>
            </a:extLst>
          </p:cNvPr>
          <p:cNvSpPr/>
          <p:nvPr/>
        </p:nvSpPr>
        <p:spPr>
          <a:xfrm>
            <a:off x="858216" y="1887696"/>
            <a:ext cx="3912080" cy="43276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US" sz="1500" b="1" dirty="0">
                <a:solidFill>
                  <a:prstClr val="black"/>
                </a:solidFill>
                <a:latin typeface="Proxima Nova Rg"/>
              </a:rPr>
              <a:t>The Queensland stamp duty change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oxima Nova Rg"/>
              <a:ea typeface="+mn-ea"/>
              <a:cs typeface="+mn-cs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endParaRPr lang="en-US" sz="1400" dirty="0">
              <a:solidFill>
                <a:prstClr val="black"/>
              </a:solidFill>
              <a:latin typeface="Proxima Nova Rg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en-US" sz="1400" b="1" dirty="0">
                <a:solidFill>
                  <a:prstClr val="black"/>
                </a:solidFill>
                <a:latin typeface="Proxima Nova Rg"/>
              </a:rPr>
              <a:t>1 August 2011</a:t>
            </a:r>
            <a:r>
              <a:rPr lang="en-US" sz="1400" dirty="0">
                <a:solidFill>
                  <a:prstClr val="black"/>
                </a:solidFill>
                <a:latin typeface="Proxima Nova Rg"/>
              </a:rPr>
              <a:t>: large concessions for owner occupiers removed.</a:t>
            </a:r>
            <a:endParaRPr lang="en-US" dirty="0">
              <a:solidFill>
                <a:prstClr val="black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endParaRPr lang="en-US" sz="1400" dirty="0">
              <a:solidFill>
                <a:prstClr val="black"/>
              </a:solidFill>
              <a:latin typeface="Proxima Nova Rg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en-US" sz="1400" b="1" dirty="0">
                <a:solidFill>
                  <a:prstClr val="black"/>
                </a:solidFill>
                <a:latin typeface="Proxima Nova Rg"/>
              </a:rPr>
              <a:t>1 July 2012</a:t>
            </a:r>
            <a:r>
              <a:rPr lang="en-US" sz="1400" dirty="0">
                <a:solidFill>
                  <a:prstClr val="black"/>
                </a:solidFill>
                <a:latin typeface="Proxima Nova Rg"/>
              </a:rPr>
              <a:t>: previous concessions </a:t>
            </a:r>
            <a:r>
              <a:rPr lang="en-US" sz="1400" dirty="0">
                <a:solidFill>
                  <a:prstClr val="black"/>
                </a:solidFill>
                <a:ea typeface="+mn-lt"/>
                <a:cs typeface="+mn-lt"/>
              </a:rPr>
              <a:t>re-introduced </a:t>
            </a:r>
            <a:r>
              <a:rPr lang="en-US" sz="1400" dirty="0">
                <a:solidFill>
                  <a:prstClr val="black"/>
                </a:solidFill>
                <a:latin typeface="Proxima Nova Rg"/>
              </a:rPr>
              <a:t>with change of government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endParaRPr lang="en-US" sz="1400" dirty="0">
              <a:solidFill>
                <a:prstClr val="black"/>
              </a:solidFill>
              <a:latin typeface="Proxima Nova Rg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en-US" sz="1400" dirty="0">
                <a:solidFill>
                  <a:prstClr val="black"/>
                </a:solidFill>
                <a:latin typeface="Proxima Nova Rg"/>
              </a:rPr>
              <a:t>Change temporarily raised occupier taxes by </a:t>
            </a:r>
            <a:r>
              <a:rPr lang="en-US" sz="1400" b="1" dirty="0">
                <a:solidFill>
                  <a:prstClr val="black"/>
                </a:solidFill>
                <a:latin typeface="Proxima Nova Rg"/>
              </a:rPr>
              <a:t>1% of sale price</a:t>
            </a:r>
            <a:r>
              <a:rPr lang="en-US" sz="1400" dirty="0">
                <a:solidFill>
                  <a:prstClr val="black"/>
                </a:solidFill>
                <a:latin typeface="Proxima Nova Rg"/>
              </a:rPr>
              <a:t> on average</a:t>
            </a:r>
            <a:endParaRPr lang="en-US" dirty="0">
              <a:solidFill>
                <a:prstClr val="black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endParaRPr lang="en-US" sz="1400" dirty="0">
              <a:solidFill>
                <a:prstClr val="black"/>
              </a:solidFill>
              <a:latin typeface="Proxima Nova Rg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en-US" sz="1400" b="1" dirty="0">
                <a:solidFill>
                  <a:prstClr val="black"/>
                </a:solidFill>
                <a:latin typeface="Proxima Nova Rg"/>
              </a:rPr>
              <a:t>Control groups</a:t>
            </a:r>
            <a:r>
              <a:rPr lang="en-US" sz="1400" dirty="0">
                <a:solidFill>
                  <a:prstClr val="black"/>
                </a:solidFill>
                <a:latin typeface="Proxima Nova Rg"/>
              </a:rPr>
              <a:t>: NSW, Vic, SA and WA did not change stamp duty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endParaRPr lang="en-US" sz="1400" dirty="0">
              <a:solidFill>
                <a:prstClr val="black"/>
              </a:solidFill>
              <a:latin typeface="Proxima Nova Rg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en-US" sz="1400" b="1" dirty="0">
                <a:solidFill>
                  <a:prstClr val="black"/>
                </a:solidFill>
                <a:latin typeface="Proxima Nova Rg"/>
              </a:rPr>
              <a:t>Method</a:t>
            </a:r>
            <a:r>
              <a:rPr lang="en-US" sz="1400" dirty="0">
                <a:solidFill>
                  <a:prstClr val="black"/>
                </a:solidFill>
                <a:latin typeface="Proxima Nova Rg"/>
              </a:rPr>
              <a:t>: differences-in-differences model comparing states across time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endParaRPr lang="en-US" sz="1400" dirty="0">
              <a:solidFill>
                <a:prstClr val="black"/>
              </a:solidFill>
              <a:latin typeface="Proxima Nova Rg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="" xmlns:a16="http://schemas.microsoft.com/office/drawing/2014/main" id="{509A9E5C-8DA6-F50A-28E1-F98D8498DF08}"/>
              </a:ext>
            </a:extLst>
          </p:cNvPr>
          <p:cNvCxnSpPr>
            <a:cxnSpLocks/>
          </p:cNvCxnSpPr>
          <p:nvPr/>
        </p:nvCxnSpPr>
        <p:spPr>
          <a:xfrm>
            <a:off x="1032295" y="2266339"/>
            <a:ext cx="3563922" cy="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E5EE8443-A959-EFD6-B897-F54F315855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1564" y="1887696"/>
            <a:ext cx="4795079" cy="438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5902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4443F8A3-F45C-260D-726C-56AEBD617A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EC32CDD8-9F0F-0012-73C2-A1C662A8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But the econometric setup still needs to deal with strong confounding influen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55E50F20-BC9D-55E4-8818-A43069A3A9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Method I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67C68768-2FE1-26B5-A951-9DDF65FEA2F8}"/>
              </a:ext>
            </a:extLst>
          </p:cNvPr>
          <p:cNvSpPr/>
          <p:nvPr/>
        </p:nvSpPr>
        <p:spPr>
          <a:xfrm>
            <a:off x="7076958" y="1762734"/>
            <a:ext cx="3969415" cy="4382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US" sz="1500" b="1" dirty="0">
                <a:solidFill>
                  <a:prstClr val="black"/>
                </a:solidFill>
                <a:latin typeface="Proxima Nova Rg"/>
              </a:rPr>
              <a:t>Methodology overview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oxima Nova Rg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roxima Nova Rg"/>
              <a:ea typeface="+mn-ea"/>
              <a:cs typeface="+mn-cs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en-US" sz="1400" b="1" dirty="0">
                <a:solidFill>
                  <a:prstClr val="black"/>
                </a:solidFill>
                <a:latin typeface="Proxima Nova Rg"/>
              </a:rPr>
              <a:t>Data: </a:t>
            </a:r>
            <a:r>
              <a:rPr lang="en-US" sz="1400" dirty="0">
                <a:solidFill>
                  <a:prstClr val="black"/>
                </a:solidFill>
                <a:latin typeface="Proxima Nova Rg"/>
              </a:rPr>
              <a:t>All housing purchases from </a:t>
            </a:r>
            <a:r>
              <a:rPr lang="en-US" sz="1400" dirty="0" err="1">
                <a:solidFill>
                  <a:prstClr val="black"/>
                </a:solidFill>
                <a:latin typeface="Proxima Nova Rg"/>
              </a:rPr>
              <a:t>PropTrack</a:t>
            </a:r>
            <a:r>
              <a:rPr lang="en-US" sz="1400" dirty="0">
                <a:solidFill>
                  <a:prstClr val="black"/>
                </a:solidFill>
                <a:latin typeface="Proxima Nova Rg"/>
              </a:rPr>
              <a:t> </a:t>
            </a:r>
            <a:endParaRPr lang="en-US" sz="1400" b="1" dirty="0">
              <a:solidFill>
                <a:prstClr val="black"/>
              </a:solidFill>
              <a:latin typeface="Proxima Nova Rg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en-US" sz="1400" b="1" dirty="0">
                <a:solidFill>
                  <a:prstClr val="black"/>
                </a:solidFill>
                <a:latin typeface="Proxima Nova Rg"/>
              </a:rPr>
              <a:t>Triple difference model: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prstClr val="black"/>
                </a:solidFill>
                <a:latin typeface="Proxima Nova Rg"/>
              </a:rPr>
              <a:t>Compare Qld outcomes with control states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prstClr val="black"/>
                </a:solidFill>
                <a:latin typeface="Proxima Nova Rg"/>
              </a:rPr>
              <a:t>Before stamp duty rise (FY 2009-11) versus during (FY 2012)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1400" dirty="0">
                <a:solidFill>
                  <a:prstClr val="black"/>
                </a:solidFill>
                <a:latin typeface="Proxima Nova Rg"/>
              </a:rPr>
              <a:t>Outcome variable is number of </a:t>
            </a:r>
            <a:r>
              <a:rPr lang="en-US" sz="1400" u="sng" dirty="0">
                <a:solidFill>
                  <a:prstClr val="black"/>
                </a:solidFill>
                <a:latin typeface="Proxima Nova Rg"/>
              </a:rPr>
              <a:t>occupier purchases minus investor purchases</a:t>
            </a:r>
            <a:r>
              <a:rPr lang="en-US" sz="1400" dirty="0">
                <a:solidFill>
                  <a:prstClr val="black"/>
                </a:solidFill>
                <a:latin typeface="Proxima Nova Rg"/>
              </a:rPr>
              <a:t> within a state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en-US" sz="1400" b="1" dirty="0">
                <a:solidFill>
                  <a:prstClr val="black"/>
                </a:solidFill>
                <a:latin typeface="Proxima Nova Rg"/>
              </a:rPr>
              <a:t>Matched control group: </a:t>
            </a:r>
            <a:r>
              <a:rPr lang="en-US" sz="1400" dirty="0">
                <a:solidFill>
                  <a:prstClr val="black"/>
                </a:solidFill>
                <a:latin typeface="Proxima Nova Rg"/>
              </a:rPr>
              <a:t>non-Qld control areas (SA3s) chosen based on having similar FY 2009-11 trends as Qld areas </a:t>
            </a:r>
            <a:endParaRPr lang="en-US" sz="1400" dirty="0">
              <a:solidFill>
                <a:prstClr val="black"/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en-US" sz="1400" b="1" dirty="0">
                <a:solidFill>
                  <a:prstClr val="black"/>
                </a:solidFill>
              </a:rPr>
              <a:t>Robustness: ‘</a:t>
            </a:r>
            <a:r>
              <a:rPr lang="en-US" sz="1400" dirty="0">
                <a:solidFill>
                  <a:prstClr val="black"/>
                </a:solidFill>
              </a:rPr>
              <a:t>placebo test’ with identical methodology shifted back one yea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2E9C3F40-4D64-32AC-0F11-4E1E88BEECC8}"/>
              </a:ext>
            </a:extLst>
          </p:cNvPr>
          <p:cNvCxnSpPr>
            <a:cxnSpLocks/>
          </p:cNvCxnSpPr>
          <p:nvPr/>
        </p:nvCxnSpPr>
        <p:spPr>
          <a:xfrm>
            <a:off x="7264920" y="2162398"/>
            <a:ext cx="3563922" cy="0"/>
          </a:xfrm>
          <a:prstGeom prst="line">
            <a:avLst/>
          </a:prstGeom>
          <a:ln w="28575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53F20B53-58E1-92A2-E02A-4F26A0B049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603" y="1726809"/>
            <a:ext cx="5000162" cy="4418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318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6261ACB6-6DB6-81E1-6EA3-3ACCE4E8CB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F017362A-5806-DD96-6360-5B2C7F838A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32177"/>
            <a:ext cx="11459365" cy="700597"/>
          </a:xfrm>
        </p:spPr>
        <p:txBody>
          <a:bodyPr/>
          <a:lstStyle/>
          <a:p>
            <a:r>
              <a:rPr lang="en-AU" dirty="0"/>
              <a:t>The triple difference setup shows visible and statistically significant stamp duty respons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31B8EC36-92A6-F647-25E0-0772DA1681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Results I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635D4B71-3F7E-A2F4-BE58-6A4BA4221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958" y="1732499"/>
            <a:ext cx="4832756" cy="43219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60ABFFE5-8E64-B63C-072A-EF5133CCCD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4057" y="1732499"/>
            <a:ext cx="4832756" cy="4321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9669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A551EAC5-6FCA-63F5-D249-46FE7F5F25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FA382EB-B30F-A4AF-D3F3-F4FF397F4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317" y="730032"/>
            <a:ext cx="11459365" cy="700597"/>
          </a:xfrm>
        </p:spPr>
        <p:txBody>
          <a:bodyPr/>
          <a:lstStyle/>
          <a:p>
            <a:r>
              <a:rPr lang="en-AU" dirty="0"/>
              <a:t>Similar modelling on people movement rates shows the same effec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CFE5E74-B753-77F4-22A8-78F24B5C86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Results II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AEBFE7A2-9A19-4365-4299-3FDB12EB11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8277" y="1869056"/>
            <a:ext cx="4819220" cy="430577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2F81677-D5C2-1716-ED24-860C0859A1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60199" y="1819132"/>
            <a:ext cx="5048199" cy="4405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635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EFE28044-7D3C-36EA-4BA0-C296E34AAE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18CD542-FBFA-A28B-9506-2EA0916F0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y the sensitivity is so high (and why stamp duty is inefficient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3C8AFEDD-BAEF-C31F-CA62-F2EBC6E4E3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Policy implications I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4C50E87-B9F5-EDEC-2449-C38BBB00A56D}"/>
              </a:ext>
            </a:extLst>
          </p:cNvPr>
          <p:cNvSpPr txBox="1"/>
          <p:nvPr/>
        </p:nvSpPr>
        <p:spPr>
          <a:xfrm>
            <a:off x="1021328" y="1456801"/>
            <a:ext cx="9976176" cy="369332"/>
          </a:xfrm>
          <a:prstGeom prst="rect">
            <a:avLst/>
          </a:prstGeom>
          <a:ln>
            <a:solidFill>
              <a:srgbClr val="991B2D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AU" b="1" dirty="0"/>
              <a:t>1 ppt change in stamp duty → 7.2% change in housing purchases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5E87A671-B6B9-CA7A-09F4-C43E63EC2E30}"/>
              </a:ext>
            </a:extLst>
          </p:cNvPr>
          <p:cNvSpPr/>
          <p:nvPr/>
        </p:nvSpPr>
        <p:spPr>
          <a:xfrm>
            <a:off x="6041997" y="5031867"/>
            <a:ext cx="5231022" cy="1200330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4456A92C-E5F7-50ED-1C9D-F58385B98350}"/>
              </a:ext>
            </a:extLst>
          </p:cNvPr>
          <p:cNvSpPr/>
          <p:nvPr/>
        </p:nvSpPr>
        <p:spPr>
          <a:xfrm>
            <a:off x="819807" y="5053320"/>
            <a:ext cx="4968430" cy="1200330"/>
          </a:xfrm>
          <a:prstGeom prst="rect">
            <a:avLst/>
          </a:prstGeom>
          <a:solidFill>
            <a:srgbClr val="BEBEBE">
              <a:lumMod val="20000"/>
              <a:lumOff val="80000"/>
            </a:srgbClr>
          </a:solidFill>
          <a:ln w="19050" cap="flat" cmpd="sng" algn="ctr">
            <a:noFill/>
            <a:prstDash val="sysDot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b="1" kern="0">
              <a:solidFill>
                <a:srgbClr val="FFFFFF"/>
              </a:solidFill>
              <a:latin typeface="Graphik" panose="020B0503030202060203" pitchFamily="34" charset="77"/>
            </a:endParaRPr>
          </a:p>
        </p:txBody>
      </p:sp>
      <p:sp>
        <p:nvSpPr>
          <p:cNvPr id="8" name="Donut 13">
            <a:extLst>
              <a:ext uri="{FF2B5EF4-FFF2-40B4-BE49-F238E27FC236}">
                <a16:creationId xmlns="" xmlns:a16="http://schemas.microsoft.com/office/drawing/2014/main" id="{3C72F0EA-4ECE-9EEB-7DE4-32A340B2EBB2}"/>
              </a:ext>
            </a:extLst>
          </p:cNvPr>
          <p:cNvSpPr/>
          <p:nvPr/>
        </p:nvSpPr>
        <p:spPr>
          <a:xfrm>
            <a:off x="2745980" y="3235330"/>
            <a:ext cx="1239140" cy="1215237"/>
          </a:xfrm>
          <a:prstGeom prst="donut">
            <a:avLst>
              <a:gd name="adj" fmla="val 10524"/>
            </a:avLst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9" name="Graphic 8" descr="Packing Box Open outline">
            <a:extLst>
              <a:ext uri="{FF2B5EF4-FFF2-40B4-BE49-F238E27FC236}">
                <a16:creationId xmlns="" xmlns:a16="http://schemas.microsoft.com/office/drawing/2014/main" id="{E673329E-FDE8-6C68-B127-8FB35E6A8C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153797" y="3624645"/>
            <a:ext cx="409012" cy="409012"/>
          </a:xfrm>
          <a:prstGeom prst="rect">
            <a:avLst/>
          </a:prstGeom>
        </p:spPr>
      </p:pic>
      <p:sp>
        <p:nvSpPr>
          <p:cNvPr id="10" name="Donut 14">
            <a:extLst>
              <a:ext uri="{FF2B5EF4-FFF2-40B4-BE49-F238E27FC236}">
                <a16:creationId xmlns="" xmlns:a16="http://schemas.microsoft.com/office/drawing/2014/main" id="{A61D6331-7A83-21B3-D6A9-B23A13453DBC}"/>
              </a:ext>
            </a:extLst>
          </p:cNvPr>
          <p:cNvSpPr/>
          <p:nvPr/>
        </p:nvSpPr>
        <p:spPr>
          <a:xfrm>
            <a:off x="7926917" y="3230499"/>
            <a:ext cx="1239140" cy="1215237"/>
          </a:xfrm>
          <a:prstGeom prst="donut">
            <a:avLst>
              <a:gd name="adj" fmla="val 10524"/>
            </a:avLst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11">
              <a:defRPr/>
            </a:pPr>
            <a:endParaRPr lang="en-US" sz="1801" kern="0" err="1">
              <a:solidFill>
                <a:srgbClr val="000000"/>
              </a:solidFill>
              <a:latin typeface="Proxima Nova Rg"/>
            </a:endParaRPr>
          </a:p>
        </p:txBody>
      </p:sp>
      <p:pic>
        <p:nvPicPr>
          <p:cNvPr id="11" name="Graphic 10" descr="Bank outline">
            <a:extLst>
              <a:ext uri="{FF2B5EF4-FFF2-40B4-BE49-F238E27FC236}">
                <a16:creationId xmlns="" xmlns:a16="http://schemas.microsoft.com/office/drawing/2014/main" id="{B77797B2-D721-6A70-A73D-DEFE1A2C8BB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8341982" y="3635414"/>
            <a:ext cx="409012" cy="409012"/>
          </a:xfrm>
          <a:prstGeom prst="rect">
            <a:avLst/>
          </a:prstGeom>
        </p:spPr>
      </p:pic>
      <p:sp>
        <p:nvSpPr>
          <p:cNvPr id="12" name="Text Placeholder 158">
            <a:extLst>
              <a:ext uri="{FF2B5EF4-FFF2-40B4-BE49-F238E27FC236}">
                <a16:creationId xmlns="" xmlns:a16="http://schemas.microsoft.com/office/drawing/2014/main" id="{9AEB411D-398D-A368-984F-299A758B4DB1}"/>
              </a:ext>
            </a:extLst>
          </p:cNvPr>
          <p:cNvSpPr txBox="1">
            <a:spLocks/>
          </p:cNvSpPr>
          <p:nvPr/>
        </p:nvSpPr>
        <p:spPr>
          <a:xfrm>
            <a:off x="877706" y="5132380"/>
            <a:ext cx="4858227" cy="1037190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 sz="1400" dirty="0"/>
              <a:t>Say the home being sold is $650 000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 sz="1400" dirty="0"/>
              <a:t>Net expenditure is $50 000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 sz="1400" b="1" dirty="0"/>
              <a:t>4% stamp duty is 56% tax on purchase spending</a:t>
            </a:r>
            <a:endParaRPr lang="en-AU" sz="1400" dirty="0"/>
          </a:p>
        </p:txBody>
      </p:sp>
      <p:sp>
        <p:nvSpPr>
          <p:cNvPr id="13" name="Text Placeholder 158">
            <a:extLst>
              <a:ext uri="{FF2B5EF4-FFF2-40B4-BE49-F238E27FC236}">
                <a16:creationId xmlns="" xmlns:a16="http://schemas.microsoft.com/office/drawing/2014/main" id="{8D194942-0D70-1F7F-0812-049012290C99}"/>
              </a:ext>
            </a:extLst>
          </p:cNvPr>
          <p:cNvSpPr txBox="1">
            <a:spLocks/>
          </p:cNvSpPr>
          <p:nvPr/>
        </p:nvSpPr>
        <p:spPr>
          <a:xfrm>
            <a:off x="6095999" y="5132379"/>
            <a:ext cx="5114995" cy="1037191"/>
          </a:xfrm>
          <a:prstGeom prst="rect">
            <a:avLst/>
          </a:prstGeom>
        </p:spPr>
        <p:txBody>
          <a:bodyPr anchor="t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200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lang="en-US" sz="1100" b="0" i="0" kern="1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 sz="1400" dirty="0"/>
              <a:t>Say the mortgage finance has 80% loan-to-valuation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 sz="1400" dirty="0"/>
              <a:t>Requires savings of $140 000</a:t>
            </a:r>
          </a:p>
          <a:p>
            <a:pPr marL="171453" indent="-171453" fontAlgn="auto">
              <a:spcAft>
                <a:spcPts val="601"/>
              </a:spcAft>
              <a:buFont typeface="Wingdings" panose="05000000000000000000" pitchFamily="2" charset="2"/>
              <a:buChar char="§"/>
              <a:defRPr/>
            </a:pPr>
            <a:r>
              <a:rPr lang="en-AU" sz="1400" b="1" dirty="0"/>
              <a:t>4% stamp duty is 20% tax on savings</a:t>
            </a:r>
            <a:endParaRPr lang="en-AU" sz="1400" dirty="0"/>
          </a:p>
        </p:txBody>
      </p:sp>
      <p:sp>
        <p:nvSpPr>
          <p:cNvPr id="14" name="Text Placeholder 125">
            <a:extLst>
              <a:ext uri="{FF2B5EF4-FFF2-40B4-BE49-F238E27FC236}">
                <a16:creationId xmlns="" xmlns:a16="http://schemas.microsoft.com/office/drawing/2014/main" id="{177E8861-97E9-FFDA-A94D-DFDA6BC99F2B}"/>
              </a:ext>
            </a:extLst>
          </p:cNvPr>
          <p:cNvSpPr txBox="1">
            <a:spLocks/>
          </p:cNvSpPr>
          <p:nvPr/>
        </p:nvSpPr>
        <p:spPr>
          <a:xfrm>
            <a:off x="2090137" y="4597199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>
                <a:solidFill>
                  <a:schemeClr val="accent1"/>
                </a:solidFill>
              </a:rPr>
              <a:t>1. Moving homes</a:t>
            </a:r>
          </a:p>
        </p:txBody>
      </p:sp>
      <p:sp>
        <p:nvSpPr>
          <p:cNvPr id="15" name="Text Placeholder 125">
            <a:extLst>
              <a:ext uri="{FF2B5EF4-FFF2-40B4-BE49-F238E27FC236}">
                <a16:creationId xmlns="" xmlns:a16="http://schemas.microsoft.com/office/drawing/2014/main" id="{48B635A8-9704-999B-F9E2-D9B3383E7BDF}"/>
              </a:ext>
            </a:extLst>
          </p:cNvPr>
          <p:cNvSpPr txBox="1">
            <a:spLocks/>
          </p:cNvSpPr>
          <p:nvPr/>
        </p:nvSpPr>
        <p:spPr>
          <a:xfrm>
            <a:off x="7263887" y="4607968"/>
            <a:ext cx="2519998" cy="308981"/>
          </a:xfrm>
          <a:prstGeom prst="rect">
            <a:avLst/>
          </a:prstGeom>
        </p:spPr>
        <p:txBody>
          <a:bodyPr anchor="ctr"/>
          <a:lstStyle>
            <a:lvl1pPr marL="0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1" dirty="0">
                <a:solidFill>
                  <a:schemeClr val="accent1"/>
                </a:solidFill>
              </a:rPr>
              <a:t>2. Buying a first hom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32074CF0-1AA9-9E33-0471-FD7CA3BF1888}"/>
              </a:ext>
            </a:extLst>
          </p:cNvPr>
          <p:cNvSpPr txBox="1"/>
          <p:nvPr/>
        </p:nvSpPr>
        <p:spPr>
          <a:xfrm>
            <a:off x="1471448" y="2086112"/>
            <a:ext cx="93857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dirty="0"/>
              <a:t>Consider a </a:t>
            </a:r>
            <a:r>
              <a:rPr lang="en-AU" u="sng" dirty="0"/>
              <a:t>$700 000 home purchase</a:t>
            </a:r>
            <a:r>
              <a:rPr lang="en-AU" dirty="0"/>
              <a:t>, where </a:t>
            </a:r>
            <a:r>
              <a:rPr lang="en-AU" u="sng" dirty="0"/>
              <a:t>stamp duty is 4%</a:t>
            </a:r>
            <a:r>
              <a:rPr lang="en-AU" dirty="0"/>
              <a:t> (current national median) </a:t>
            </a:r>
            <a:r>
              <a:rPr lang="en-AU" u="sng" dirty="0"/>
              <a:t>equalling $28 000</a:t>
            </a:r>
            <a:r>
              <a:rPr lang="en-AU" dirty="0"/>
              <a:t>. Two amplification mechanisms, depending on the buyer type:</a:t>
            </a:r>
          </a:p>
        </p:txBody>
      </p:sp>
    </p:spTree>
    <p:extLst>
      <p:ext uri="{BB962C8B-B14F-4D97-AF65-F5344CB8AC3E}">
        <p14:creationId xmlns:p14="http://schemas.microsoft.com/office/powerpoint/2010/main" val="1783209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EF6C4DDF-54BB-F30C-220A-51713D0C17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9AC08D-23A9-440E-BCB9-AA1E9877CC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42194A17-5978-BD6D-F5CE-4FF0427BE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417" y="653791"/>
            <a:ext cx="11459365" cy="700597"/>
          </a:xfrm>
        </p:spPr>
        <p:txBody>
          <a:bodyPr/>
          <a:lstStyle/>
          <a:p>
            <a:r>
              <a:rPr lang="en-AU" dirty="0"/>
              <a:t>Policy implications and alternativ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75D1C77-C88B-16FA-D834-2FE0859952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/>
              <a:t>Policy implications II</a:t>
            </a:r>
          </a:p>
        </p:txBody>
      </p:sp>
      <p:sp>
        <p:nvSpPr>
          <p:cNvPr id="5" name="Text Placeholder 73">
            <a:extLst>
              <a:ext uri="{FF2B5EF4-FFF2-40B4-BE49-F238E27FC236}">
                <a16:creationId xmlns="" xmlns:a16="http://schemas.microsoft.com/office/drawing/2014/main" id="{1D60A82F-59F9-3445-531F-BEB7C19B025C}"/>
              </a:ext>
            </a:extLst>
          </p:cNvPr>
          <p:cNvSpPr txBox="1">
            <a:spLocks/>
          </p:cNvSpPr>
          <p:nvPr/>
        </p:nvSpPr>
        <p:spPr>
          <a:xfrm>
            <a:off x="393700" y="1944005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Stamp duty may be contributing to the productivity slowdown</a:t>
            </a:r>
          </a:p>
        </p:txBody>
      </p:sp>
      <p:pic>
        <p:nvPicPr>
          <p:cNvPr id="8" name="Graphic 7" descr="Scales of justice with solid fill">
            <a:extLst>
              <a:ext uri="{FF2B5EF4-FFF2-40B4-BE49-F238E27FC236}">
                <a16:creationId xmlns="" xmlns:a16="http://schemas.microsoft.com/office/drawing/2014/main" id="{248D820F-48E0-7F00-AF77-30BF6FF6F6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1673" y="3428464"/>
            <a:ext cx="516860" cy="516860"/>
          </a:xfrm>
          <a:prstGeom prst="rect">
            <a:avLst/>
          </a:prstGeom>
        </p:spPr>
      </p:pic>
      <p:pic>
        <p:nvPicPr>
          <p:cNvPr id="9" name="Graphic 8" descr="Scales of justice with solid fill">
            <a:extLst>
              <a:ext uri="{FF2B5EF4-FFF2-40B4-BE49-F238E27FC236}">
                <a16:creationId xmlns="" xmlns:a16="http://schemas.microsoft.com/office/drawing/2014/main" id="{6727F06B-07B2-E249-67F1-8D6BD6A0DE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1673" y="4796423"/>
            <a:ext cx="516860" cy="516860"/>
          </a:xfrm>
          <a:prstGeom prst="rect">
            <a:avLst/>
          </a:prstGeom>
        </p:spPr>
      </p:pic>
      <p:sp>
        <p:nvSpPr>
          <p:cNvPr id="10" name="Text Placeholder 57">
            <a:extLst>
              <a:ext uri="{FF2B5EF4-FFF2-40B4-BE49-F238E27FC236}">
                <a16:creationId xmlns="" xmlns:a16="http://schemas.microsoft.com/office/drawing/2014/main" id="{EDC1D088-A5C5-648E-CFB4-CD251E360A21}"/>
              </a:ext>
            </a:extLst>
          </p:cNvPr>
          <p:cNvSpPr txBox="1">
            <a:spLocks/>
          </p:cNvSpPr>
          <p:nvPr/>
        </p:nvSpPr>
        <p:spPr>
          <a:xfrm>
            <a:off x="4333876" y="1944004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Productivity depends on </a:t>
            </a:r>
            <a:r>
              <a:rPr lang="en-US" dirty="0" err="1"/>
              <a:t>labour</a:t>
            </a:r>
            <a:r>
              <a:rPr lang="en-US" dirty="0"/>
              <a:t> dynamism and job switching</a:t>
            </a:r>
          </a:p>
          <a:p>
            <a:pPr>
              <a:defRPr/>
            </a:pPr>
            <a:r>
              <a:rPr lang="en-US" dirty="0"/>
              <a:t>Job switching has declined in last 20 years as stamp duty burden has grown</a:t>
            </a:r>
          </a:p>
        </p:txBody>
      </p:sp>
      <p:sp>
        <p:nvSpPr>
          <p:cNvPr id="11" name="Text Placeholder 57">
            <a:extLst>
              <a:ext uri="{FF2B5EF4-FFF2-40B4-BE49-F238E27FC236}">
                <a16:creationId xmlns="" xmlns:a16="http://schemas.microsoft.com/office/drawing/2014/main" id="{5A4DA824-DEE8-BAFB-A1CE-D6010132C8F2}"/>
              </a:ext>
            </a:extLst>
          </p:cNvPr>
          <p:cNvSpPr txBox="1">
            <a:spLocks/>
          </p:cNvSpPr>
          <p:nvPr/>
        </p:nvSpPr>
        <p:spPr>
          <a:xfrm>
            <a:off x="4333876" y="3228885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oes not inhibit moving</a:t>
            </a:r>
          </a:p>
          <a:p>
            <a:r>
              <a:rPr lang="en-US" dirty="0"/>
              <a:t>Immobile tax base (i.e. more efficient than most taxes)</a:t>
            </a:r>
          </a:p>
          <a:p>
            <a:r>
              <a:rPr lang="en-US" dirty="0"/>
              <a:t>More stable revenue</a:t>
            </a:r>
          </a:p>
          <a:p>
            <a:r>
              <a:rPr lang="en-US" dirty="0"/>
              <a:t>Can be set up to avoid disadvantaging (e.g.) cash-poor home owners</a:t>
            </a:r>
          </a:p>
        </p:txBody>
      </p:sp>
      <p:sp>
        <p:nvSpPr>
          <p:cNvPr id="12" name="Text Placeholder 57">
            <a:extLst>
              <a:ext uri="{FF2B5EF4-FFF2-40B4-BE49-F238E27FC236}">
                <a16:creationId xmlns="" xmlns:a16="http://schemas.microsoft.com/office/drawing/2014/main" id="{834C74F1-4994-A3F6-6BAD-9F879D3C3CAC}"/>
              </a:ext>
            </a:extLst>
          </p:cNvPr>
          <p:cNvSpPr txBox="1">
            <a:spLocks/>
          </p:cNvSpPr>
          <p:nvPr/>
        </p:nvSpPr>
        <p:spPr>
          <a:xfrm>
            <a:off x="4333876" y="4513767"/>
            <a:ext cx="7495906" cy="1081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285750" indent="-28575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umimoji="0" lang="en-US" sz="13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21595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evious work has also suggested raising tax on (e.g.):</a:t>
            </a:r>
          </a:p>
          <a:p>
            <a:pPr lvl="2"/>
            <a:r>
              <a:rPr lang="en-US" sz="1300" dirty="0"/>
              <a:t>Housing capital gains, possibly upon sale like stamp duty</a:t>
            </a:r>
          </a:p>
          <a:p>
            <a:pPr lvl="2"/>
            <a:r>
              <a:rPr lang="en-US" sz="1300" dirty="0"/>
              <a:t>Imputed rents</a:t>
            </a:r>
            <a:endParaRPr lang="en-US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="" xmlns:a16="http://schemas.microsoft.com/office/drawing/2014/main" id="{B99A88C2-33EC-E7BC-BA47-1386F2DA9050}"/>
              </a:ext>
            </a:extLst>
          </p:cNvPr>
          <p:cNvCxnSpPr>
            <a:cxnSpLocks/>
            <a:endCxn id="10" idx="1"/>
          </p:cNvCxnSpPr>
          <p:nvPr/>
        </p:nvCxnSpPr>
        <p:spPr>
          <a:xfrm flipV="1">
            <a:off x="3797040" y="2484548"/>
            <a:ext cx="536836" cy="59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="" xmlns:a16="http://schemas.microsoft.com/office/drawing/2014/main" id="{24E41908-21E2-C39F-3D16-B02C88481527}"/>
              </a:ext>
            </a:extLst>
          </p:cNvPr>
          <p:cNvCxnSpPr>
            <a:cxnSpLocks/>
            <a:stCxn id="16" idx="3"/>
            <a:endCxn id="11" idx="1"/>
          </p:cNvCxnSpPr>
          <p:nvPr/>
        </p:nvCxnSpPr>
        <p:spPr>
          <a:xfrm>
            <a:off x="3797302" y="3769429"/>
            <a:ext cx="536574" cy="0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="" xmlns:a16="http://schemas.microsoft.com/office/drawing/2014/main" id="{9C0FBFE6-CBE0-004E-EF97-30927DF5DA02}"/>
              </a:ext>
            </a:extLst>
          </p:cNvPr>
          <p:cNvCxnSpPr>
            <a:cxnSpLocks/>
            <a:endCxn id="12" idx="1"/>
          </p:cNvCxnSpPr>
          <p:nvPr/>
        </p:nvCxnSpPr>
        <p:spPr>
          <a:xfrm flipV="1">
            <a:off x="3797040" y="5054311"/>
            <a:ext cx="536836" cy="544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73">
            <a:extLst>
              <a:ext uri="{FF2B5EF4-FFF2-40B4-BE49-F238E27FC236}">
                <a16:creationId xmlns="" xmlns:a16="http://schemas.microsoft.com/office/drawing/2014/main" id="{A692F885-6D76-A6F2-BD16-FD1AEC39EE14}"/>
              </a:ext>
            </a:extLst>
          </p:cNvPr>
          <p:cNvSpPr txBox="1">
            <a:spLocks/>
          </p:cNvSpPr>
          <p:nvPr/>
        </p:nvSpPr>
        <p:spPr>
          <a:xfrm>
            <a:off x="393700" y="3229679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ctr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100" b="1" i="0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kumimoji="0" lang="en-US" sz="11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kumimoji="0" lang="en-US" sz="11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1" dirty="0"/>
              <a:t>Previous analysis predominantly </a:t>
            </a:r>
            <a:r>
              <a:rPr lang="en-US" sz="1401" dirty="0" err="1"/>
              <a:t>favours</a:t>
            </a:r>
            <a:r>
              <a:rPr lang="en-US" sz="1401" dirty="0"/>
              <a:t> switching to land tax</a:t>
            </a:r>
          </a:p>
        </p:txBody>
      </p:sp>
      <p:sp>
        <p:nvSpPr>
          <p:cNvPr id="17" name="Text Placeholder 73">
            <a:extLst>
              <a:ext uri="{FF2B5EF4-FFF2-40B4-BE49-F238E27FC236}">
                <a16:creationId xmlns="" xmlns:a16="http://schemas.microsoft.com/office/drawing/2014/main" id="{311637E3-5714-51C1-5D54-E56130E9B67E}"/>
              </a:ext>
            </a:extLst>
          </p:cNvPr>
          <p:cNvSpPr txBox="1">
            <a:spLocks/>
          </p:cNvSpPr>
          <p:nvPr/>
        </p:nvSpPr>
        <p:spPr>
          <a:xfrm>
            <a:off x="393700" y="4515356"/>
            <a:ext cx="3403600" cy="10795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625475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kumimoji="0" lang="en-US" sz="14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roxima Nova Rg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431914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611878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863827" indent="-215957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‒"/>
              <a:defRPr sz="1800" b="0" i="0" kern="12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1263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0584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990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9225" indent="-304662" algn="l" defTabSz="121864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1" dirty="0"/>
              <a:t>But any other tax is likely an improvement</a:t>
            </a:r>
          </a:p>
        </p:txBody>
      </p:sp>
      <p:pic>
        <p:nvPicPr>
          <p:cNvPr id="20" name="Graphic 19" descr="Downward trend graph outline">
            <a:extLst>
              <a:ext uri="{FF2B5EF4-FFF2-40B4-BE49-F238E27FC236}">
                <a16:creationId xmlns="" xmlns:a16="http://schemas.microsoft.com/office/drawing/2014/main" id="{B19BB1BF-0BD6-10C6-CA53-C9B07A979F9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91673" y="2225325"/>
            <a:ext cx="516860" cy="516860"/>
          </a:xfrm>
          <a:prstGeom prst="rect">
            <a:avLst/>
          </a:prstGeom>
        </p:spPr>
      </p:pic>
      <p:pic>
        <p:nvPicPr>
          <p:cNvPr id="21" name="Graphic 20" descr="Architecture outline">
            <a:extLst>
              <a:ext uri="{FF2B5EF4-FFF2-40B4-BE49-F238E27FC236}">
                <a16:creationId xmlns="" xmlns:a16="http://schemas.microsoft.com/office/drawing/2014/main" id="{3AC28F99-853E-3155-7383-A9D4345D02A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91673" y="3510999"/>
            <a:ext cx="516860" cy="516860"/>
          </a:xfrm>
          <a:prstGeom prst="rect">
            <a:avLst/>
          </a:prstGeom>
        </p:spPr>
      </p:pic>
      <p:pic>
        <p:nvPicPr>
          <p:cNvPr id="22" name="Graphic 21" descr="Scales of justice with solid fill">
            <a:extLst>
              <a:ext uri="{FF2B5EF4-FFF2-40B4-BE49-F238E27FC236}">
                <a16:creationId xmlns="" xmlns:a16="http://schemas.microsoft.com/office/drawing/2014/main" id="{BC2E7D5E-5954-59C0-A163-D69D5365B2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1673" y="4796676"/>
            <a:ext cx="516860" cy="51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955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RKMSIZCicbhc4bAXG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61 slide master">
  <a:themeElements>
    <a:clrScheme name="e61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F54"/>
      </a:accent1>
      <a:accent2>
        <a:srgbClr val="008080"/>
      </a:accent2>
      <a:accent3>
        <a:srgbClr val="33A7AB"/>
      </a:accent3>
      <a:accent4>
        <a:srgbClr val="FFA557"/>
      </a:accent4>
      <a:accent5>
        <a:srgbClr val="F88379"/>
      </a:accent5>
      <a:accent6>
        <a:srgbClr val="B40000"/>
      </a:accent6>
      <a:hlink>
        <a:srgbClr val="0563C1"/>
      </a:hlink>
      <a:folHlink>
        <a:srgbClr val="954F72"/>
      </a:folHlink>
    </a:clrScheme>
    <a:fontScheme name="Custom 2">
      <a:majorFont>
        <a:latin typeface="Proxima Nova Rg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9050">
          <a:noFill/>
          <a:prstDash val="sysDot"/>
          <a:headEnd type="none" w="med" len="med"/>
          <a:tailEnd type="none" w="med" len="med"/>
        </a:ln>
      </a:spPr>
      <a:bodyPr rtlCol="0" anchor="ctr"/>
      <a:lstStyle>
        <a:defPPr algn="ctr">
          <a:defRPr b="1" dirty="0" smtClean="0">
            <a:solidFill>
              <a:schemeClr val="bg1"/>
            </a:solidFill>
            <a:latin typeface="Graphik" panose="020B0503030202060203" pitchFamily="34" charset="77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>
          <a:solidFill>
            <a:schemeClr val="tx1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e61 general template.potx" id="{90061909-20C7-47C0-9BA3-1FCA4037CBDA}" vid="{47FE1831-D1E7-41D2-8A16-5B5B5DBA35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F7106BE221634C9A443A32D62ABB27" ma:contentTypeVersion="12" ma:contentTypeDescription="Create a new document." ma:contentTypeScope="" ma:versionID="5b483bdd40a71269a5878e4f795855dd">
  <xsd:schema xmlns:xsd="http://www.w3.org/2001/XMLSchema" xmlns:xs="http://www.w3.org/2001/XMLSchema" xmlns:p="http://schemas.microsoft.com/office/2006/metadata/properties" xmlns:ns2="81a54e3a-d555-4b56-9833-644396d78573" xmlns:ns3="835fddcd-7c56-4f4b-97f0-98b7655c5471" targetNamespace="http://schemas.microsoft.com/office/2006/metadata/properties" ma:root="true" ma:fieldsID="a1025d37a4d6cf427f31e686ec28dc52" ns2:_="" ns3:_="">
    <xsd:import namespace="81a54e3a-d555-4b56-9833-644396d78573"/>
    <xsd:import namespace="835fddcd-7c56-4f4b-97f0-98b7655c547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a54e3a-d555-4b56-9833-644396d7857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db636637-0cb8-470c-bb2f-599830951085}" ma:internalName="TaxCatchAll" ma:showField="CatchAllData" ma:web="81a54e3a-d555-4b56-9833-644396d785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5fddcd-7c56-4f4b-97f0-98b7655c54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8bce0e04-9c7f-4626-8cb4-29f8b9ace2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1a54e3a-d555-4b56-9833-644396d78573" xsi:nil="true"/>
    <lcf76f155ced4ddcb4097134ff3c332f xmlns="835fddcd-7c56-4f4b-97f0-98b7655c547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C96F969-7EAB-4192-A91B-205D5A971A8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a54e3a-d555-4b56-9833-644396d78573"/>
    <ds:schemaRef ds:uri="835fddcd-7c56-4f4b-97f0-98b7655c547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29E81E1-445C-4E91-8E35-C5BD736A3B7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E36B762-179B-48EA-90B2-E74079BA15DE}">
  <ds:schemaRefs>
    <ds:schemaRef ds:uri="http://purl.org/dc/elements/1.1/"/>
    <ds:schemaRef ds:uri="http://schemas.microsoft.com/office/2006/metadata/properties"/>
    <ds:schemaRef ds:uri="81a54e3a-d555-4b56-9833-644396d78573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835fddcd-7c56-4f4b-97f0-98b7655c5471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4-02-06 MMFC stamp duty presentation</Template>
  <TotalTime>785</TotalTime>
  <Words>550</Words>
  <Application>Microsoft Office PowerPoint</Application>
  <PresentationFormat>Custom</PresentationFormat>
  <Paragraphs>113</Paragraphs>
  <Slides>10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e61 slide master</vt:lpstr>
      <vt:lpstr>think-cell Slide</vt:lpstr>
      <vt:lpstr>PowerPoint Presentation</vt:lpstr>
      <vt:lpstr>Stepped on  by stamp duty</vt:lpstr>
      <vt:lpstr>The clear costs of stamp duty</vt:lpstr>
      <vt:lpstr>A large stamp duty change in Queensland in 2011 offers a natural experiment for identifying the sensitivity of reactions</vt:lpstr>
      <vt:lpstr>But the econometric setup still needs to deal with strong confounding influences</vt:lpstr>
      <vt:lpstr>The triple difference setup shows visible and statistically significant stamp duty responses</vt:lpstr>
      <vt:lpstr>Similar modelling on people movement rates shows the same effect </vt:lpstr>
      <vt:lpstr>Why the sensitivity is so high (and why stamp duty is inefficient)</vt:lpstr>
      <vt:lpstr>Policy implications and alternative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epped on by stamp duty</dc:title>
  <dc:creator>Nick Garvin</dc:creator>
  <cp:lastModifiedBy>Frieda</cp:lastModifiedBy>
  <cp:revision>2</cp:revision>
  <dcterms:created xsi:type="dcterms:W3CDTF">2024-01-29T22:35:15Z</dcterms:created>
  <dcterms:modified xsi:type="dcterms:W3CDTF">2024-01-31T06:2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A1619F266734FBC2B48FB95398739</vt:lpwstr>
  </property>
  <property fmtid="{D5CDD505-2E9C-101B-9397-08002B2CF9AE}" pid="3" name="MediaServiceImageTags">
    <vt:lpwstr/>
  </property>
</Properties>
</file>